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s/slide7.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5.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6.xml" ContentType="application/vnd.openxmlformats-officedocument.presentationml.slide+xml"/>
  <Override PartName="/ppt/slides/slide15.xml" ContentType="application/vnd.openxmlformats-officedocument.presentationml.slide+xml"/>
  <Override PartName="/ppt/slides/slide17.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16.xml" ContentType="application/vnd.openxmlformats-officedocument.presentationml.slide+xml"/>
  <Override PartName="/ppt/slides/slide19.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18.xml" ContentType="application/vnd.openxmlformats-officedocument.presentationml.slide+xml"/>
  <Override PartName="/ppt/slideLayouts/slideLayout18.xml" ContentType="application/vnd.openxmlformats-officedocument.presentationml.slideLayout+xml"/>
  <Override PartName="/ppt/notesSlides/notesSlide7.xml" ContentType="application/vnd.openxmlformats-officedocument.presentationml.notesSlide+xml"/>
  <Override PartName="/ppt/slideLayouts/slideLayout16.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7.xml" ContentType="application/vnd.openxmlformats-officedocument.presentationml.slideLayout+xml"/>
  <Override PartName="/ppt/slideLayouts/slideLayout9.xml" ContentType="application/vnd.openxmlformats-officedocument.presentationml.slideLayout+xml"/>
  <Override PartName="/ppt/notesSlides/notesSlide1.xml" ContentType="application/vnd.openxmlformats-officedocument.presentationml.notesSlide+xml"/>
  <Override PartName="/ppt/notesSlides/notesSlide6.xml" ContentType="application/vnd.openxmlformats-officedocument.presentationml.notesSlide+xml"/>
  <Override PartName="/ppt/notesSlides/notesSlide8.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slideMasters/slideMaster2.xml" ContentType="application/vnd.openxmlformats-officedocument.presentationml.slideMaster+xml"/>
  <Override PartName="/ppt/slideLayouts/slideLayout15.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1.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26.xml" ContentType="application/vnd.openxmlformats-officedocument.presentationml.tags+xml"/>
  <Override PartName="/ppt/tags/tag8.xml" ContentType="application/vnd.openxmlformats-officedocument.presentationml.tags+xml"/>
  <Override PartName="/ppt/tags/tag6.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7.xml" ContentType="application/vnd.openxmlformats-officedocument.presentationml.tags+xml"/>
  <Override PartName="/ppt/tags/tag1.xml" ContentType="application/vnd.openxmlformats-officedocument.presentationml.tags+xml"/>
  <Override PartName="/ppt/tags/tag10.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2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22.xml" ContentType="application/vnd.openxmlformats-officedocument.presentationml.tags+xml"/>
  <Override PartName="/ppt/tags/tag29.xml" ContentType="application/vnd.openxmlformats-officedocument.presentationml.tags+xml"/>
  <Override PartName="/ppt/tags/tag23.xml" ContentType="application/vnd.openxmlformats-officedocument.presentationml.tags+xml"/>
  <Override PartName="/ppt/tags/tag27.xml" ContentType="application/vnd.openxmlformats-officedocument.presentationml.tags+xml"/>
  <Override PartName="/ppt/tags/tag25.xml" ContentType="application/vnd.openxmlformats-officedocument.presentationml.tags+xml"/>
  <Override PartName="/ppt/tags/tag28.xml" ContentType="application/vnd.openxmlformats-officedocument.presentationml.tags+xml"/>
  <Override PartName="/ppt/tags/tag24.xml" ContentType="application/vnd.openxmlformats-officedocument.presentationml.tags+xml"/>
  <Override PartName="/docProps/custom.xml" ContentType="application/vnd.openxmlformats-officedocument.custom-properties+xml"/>
  <Override PartName="/ppt/tags/tag9.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2.xml" ContentType="application/vnd.openxmlformats-officedocument.presentationml.tags+xml"/>
  <Override PartName="/ppt/tags/tag17.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11.xml" ContentType="application/vnd.openxmlformats-officedocument.presentationml.tags+xml"/>
  <Override PartName="/ppt/tags/tag18.xml" ContentType="application/vnd.openxmlformats-officedocument.presentationml.tags+xml"/>
  <Override PartName="/ppt/changesInfos/changesInfo1.xml" ContentType="application/vnd.ms-powerpoint.changesinfo+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99" r:id="rId2"/>
  </p:sldMasterIdLst>
  <p:notesMasterIdLst>
    <p:notesMasterId r:id="rId22"/>
  </p:notesMasterIdLst>
  <p:handoutMasterIdLst>
    <p:handoutMasterId r:id="rId23"/>
  </p:handoutMasterIdLst>
  <p:sldIdLst>
    <p:sldId id="453" r:id="rId3"/>
    <p:sldId id="2147472595" r:id="rId4"/>
    <p:sldId id="2147472596" r:id="rId5"/>
    <p:sldId id="2147472598" r:id="rId6"/>
    <p:sldId id="2147472674" r:id="rId7"/>
    <p:sldId id="2147472675" r:id="rId8"/>
    <p:sldId id="2147472676" r:id="rId9"/>
    <p:sldId id="2147472677" r:id="rId10"/>
    <p:sldId id="2147472678" r:id="rId11"/>
    <p:sldId id="2147472679" r:id="rId12"/>
    <p:sldId id="2147472680" r:id="rId13"/>
    <p:sldId id="2147472681" r:id="rId14"/>
    <p:sldId id="2147472682" r:id="rId15"/>
    <p:sldId id="2147472683" r:id="rId16"/>
    <p:sldId id="2147472684" r:id="rId17"/>
    <p:sldId id="2147472685" r:id="rId18"/>
    <p:sldId id="2147472686" r:id="rId19"/>
    <p:sldId id="2147472687" r:id="rId20"/>
    <p:sldId id="2147472671" r:id="rId21"/>
  </p:sldIdLst>
  <p:sldSz cx="12192000" cy="6858000"/>
  <p:notesSz cx="6858000" cy="9144000"/>
  <p:custDataLst>
    <p:tags r:id="rId24"/>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DMHs5HZKbyibCbosysm1GA==" hashData="rC8iXzu/K3YdoLtpe+kn7cFZv+RWlQXo2DoqnC8EZ2eEJJLNPeZ+96IK7NcrY8yFy5cnufWR1K9+Kxya9FeYNQ=="/>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0000"/>
    <a:srgbClr val="FFDD00"/>
    <a:srgbClr val="004C1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DA37D80-6434-44D0-A028-1B22A696006F}" styleName="Estilo claro 3 - Acento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Estilo claro 3 - Acento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09" autoAdjust="0"/>
    <p:restoredTop sz="79214" autoAdjust="0"/>
  </p:normalViewPr>
  <p:slideViewPr>
    <p:cSldViewPr snapToGrid="0">
      <p:cViewPr varScale="1">
        <p:scale>
          <a:sx n="61" d="100"/>
          <a:sy n="61" d="100"/>
        </p:scale>
        <p:origin x="1072" y="48"/>
      </p:cViewPr>
      <p:guideLst/>
    </p:cSldViewPr>
  </p:slideViewPr>
  <p:outlineViewPr>
    <p:cViewPr>
      <p:scale>
        <a:sx n="33" d="100"/>
        <a:sy n="33" d="100"/>
      </p:scale>
      <p:origin x="0" y="-27438"/>
    </p:cViewPr>
  </p:outlineViewPr>
  <p:notesTextViewPr>
    <p:cViewPr>
      <p:scale>
        <a:sx n="1" d="1"/>
        <a:sy n="1" d="1"/>
      </p:scale>
      <p:origin x="0" y="0"/>
    </p:cViewPr>
  </p:notesTextViewPr>
  <p:notesViewPr>
    <p:cSldViewPr snapToGrid="0">
      <p:cViewPr varScale="1">
        <p:scale>
          <a:sx n="59" d="100"/>
          <a:sy n="59" d="100"/>
        </p:scale>
        <p:origin x="2790"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gs" Target="tags/tag1.xml"/><Relationship Id="rId32" Type="http://schemas.openxmlformats.org/officeDocument/2006/relationships/customXml" Target="../customXml/item3.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customXml" Target="../customXml/item2.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openxmlformats.org/officeDocument/2006/relationships/theme" Target="theme/theme1.xml"/><Relationship Id="rId30" Type="http://schemas.openxmlformats.org/officeDocument/2006/relationships/customXml" Target="../customXml/item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to Cortés, Sofía Constanza" userId="bc780694-5ad3-4b43-9d08-68ceeeeb3a92" providerId="ADAL" clId="{78668647-0E4E-4D51-9C0E-13926B4FF229}"/>
    <pc:docChg chg="undo custSel addSld delSld modSld sldOrd modMainMaster modSection replTag">
      <pc:chgData name="Brito Cortés, Sofía Constanza" userId="bc780694-5ad3-4b43-9d08-68ceeeeb3a92" providerId="ADAL" clId="{78668647-0E4E-4D51-9C0E-13926B4FF229}" dt="2023-07-13T15:51:45.458" v="5563" actId="20578"/>
      <pc:docMkLst>
        <pc:docMk/>
      </pc:docMkLst>
      <pc:sldChg chg="delSp">
        <pc:chgData name="Brito Cortés, Sofía Constanza" userId="bc780694-5ad3-4b43-9d08-68ceeeeb3a92" providerId="ADAL" clId="{78668647-0E4E-4D51-9C0E-13926B4FF229}" dt="2023-07-13T15:44:17.838" v="5554"/>
        <pc:sldMkLst>
          <pc:docMk/>
          <pc:sldMk cId="0" sldId="279"/>
        </pc:sldMkLst>
        <pc:spChg chg="del">
          <ac:chgData name="Brito Cortés, Sofía Constanza" userId="bc780694-5ad3-4b43-9d08-68ceeeeb3a92" providerId="ADAL" clId="{78668647-0E4E-4D51-9C0E-13926B4FF229}" dt="2023-07-13T15:44:17.838" v="5554"/>
          <ac:spMkLst>
            <pc:docMk/>
            <pc:sldMk cId="0" sldId="279"/>
            <ac:spMk id="2" creationId="{2E7E7DBF-90A8-1A51-8FCC-DD65465B3770}"/>
          </ac:spMkLst>
        </pc:spChg>
      </pc:sldChg>
      <pc:sldChg chg="delSp">
        <pc:chgData name="Brito Cortés, Sofía Constanza" userId="bc780694-5ad3-4b43-9d08-68ceeeeb3a92" providerId="ADAL" clId="{78668647-0E4E-4D51-9C0E-13926B4FF229}" dt="2023-07-13T15:44:17.838" v="5554"/>
        <pc:sldMkLst>
          <pc:docMk/>
          <pc:sldMk cId="0" sldId="284"/>
        </pc:sldMkLst>
        <pc:spChg chg="del">
          <ac:chgData name="Brito Cortés, Sofía Constanza" userId="bc780694-5ad3-4b43-9d08-68ceeeeb3a92" providerId="ADAL" clId="{78668647-0E4E-4D51-9C0E-13926B4FF229}" dt="2023-07-13T15:44:17.838" v="5554"/>
          <ac:spMkLst>
            <pc:docMk/>
            <pc:sldMk cId="0" sldId="284"/>
            <ac:spMk id="2" creationId="{2DC4924F-8F1B-95D2-8254-0929E8061B5D}"/>
          </ac:spMkLst>
        </pc:spChg>
      </pc:sldChg>
      <pc:sldChg chg="delSp">
        <pc:chgData name="Brito Cortés, Sofía Constanza" userId="bc780694-5ad3-4b43-9d08-68ceeeeb3a92" providerId="ADAL" clId="{78668647-0E4E-4D51-9C0E-13926B4FF229}" dt="2023-07-13T15:44:17.838" v="5554"/>
        <pc:sldMkLst>
          <pc:docMk/>
          <pc:sldMk cId="2571665260" sldId="352"/>
        </pc:sldMkLst>
        <pc:spChg chg="del">
          <ac:chgData name="Brito Cortés, Sofía Constanza" userId="bc780694-5ad3-4b43-9d08-68ceeeeb3a92" providerId="ADAL" clId="{78668647-0E4E-4D51-9C0E-13926B4FF229}" dt="2023-07-13T15:44:17.838" v="5554"/>
          <ac:spMkLst>
            <pc:docMk/>
            <pc:sldMk cId="2571665260" sldId="352"/>
            <ac:spMk id="2" creationId="{5255C6D4-96B0-F707-5058-20B797FA8DC3}"/>
          </ac:spMkLst>
        </pc:spChg>
      </pc:sldChg>
      <pc:sldChg chg="delSp">
        <pc:chgData name="Brito Cortés, Sofía Constanza" userId="bc780694-5ad3-4b43-9d08-68ceeeeb3a92" providerId="ADAL" clId="{78668647-0E4E-4D51-9C0E-13926B4FF229}" dt="2023-07-13T15:44:17.838" v="5554"/>
        <pc:sldMkLst>
          <pc:docMk/>
          <pc:sldMk cId="1198807975" sldId="354"/>
        </pc:sldMkLst>
        <pc:spChg chg="del">
          <ac:chgData name="Brito Cortés, Sofía Constanza" userId="bc780694-5ad3-4b43-9d08-68ceeeeb3a92" providerId="ADAL" clId="{78668647-0E4E-4D51-9C0E-13926B4FF229}" dt="2023-07-13T15:44:17.838" v="5554"/>
          <ac:spMkLst>
            <pc:docMk/>
            <pc:sldMk cId="1198807975" sldId="354"/>
            <ac:spMk id="3" creationId="{55509333-A291-D808-C4DC-737442D05B26}"/>
          </ac:spMkLst>
        </pc:spChg>
      </pc:sldChg>
      <pc:sldChg chg="addSp delSp modSp mod ord">
        <pc:chgData name="Brito Cortés, Sofía Constanza" userId="bc780694-5ad3-4b43-9d08-68ceeeeb3a92" providerId="ADAL" clId="{78668647-0E4E-4D51-9C0E-13926B4FF229}" dt="2023-07-13T15:01:03.462" v="5373" actId="14100"/>
        <pc:sldMkLst>
          <pc:docMk/>
          <pc:sldMk cId="667833205" sldId="459"/>
        </pc:sldMkLst>
        <pc:spChg chg="del">
          <ac:chgData name="Brito Cortés, Sofía Constanza" userId="bc780694-5ad3-4b43-9d08-68ceeeeb3a92" providerId="ADAL" clId="{78668647-0E4E-4D51-9C0E-13926B4FF229}" dt="2023-07-13T15:00:21.461" v="5156" actId="478"/>
          <ac:spMkLst>
            <pc:docMk/>
            <pc:sldMk cId="667833205" sldId="459"/>
            <ac:spMk id="3" creationId="{461C20CF-53C1-7E43-826E-18C48783904D}"/>
          </ac:spMkLst>
        </pc:spChg>
        <pc:spChg chg="mod">
          <ac:chgData name="Brito Cortés, Sofía Constanza" userId="bc780694-5ad3-4b43-9d08-68ceeeeb3a92" providerId="ADAL" clId="{78668647-0E4E-4D51-9C0E-13926B4FF229}" dt="2023-07-13T15:00:49.155" v="5371" actId="14100"/>
          <ac:spMkLst>
            <pc:docMk/>
            <pc:sldMk cId="667833205" sldId="459"/>
            <ac:spMk id="5" creationId="{00000000-0000-0000-0000-000000000000}"/>
          </ac:spMkLst>
        </pc:spChg>
        <pc:spChg chg="del">
          <ac:chgData name="Brito Cortés, Sofía Constanza" userId="bc780694-5ad3-4b43-9d08-68ceeeeb3a92" providerId="ADAL" clId="{78668647-0E4E-4D51-9C0E-13926B4FF229}" dt="2023-07-13T15:00:21.461" v="5156" actId="478"/>
          <ac:spMkLst>
            <pc:docMk/>
            <pc:sldMk cId="667833205" sldId="459"/>
            <ac:spMk id="6" creationId="{1D52B184-AC18-FBFE-23A8-2AD3A7751219}"/>
          </ac:spMkLst>
        </pc:spChg>
        <pc:spChg chg="del">
          <ac:chgData name="Brito Cortés, Sofía Constanza" userId="bc780694-5ad3-4b43-9d08-68ceeeeb3a92" providerId="ADAL" clId="{78668647-0E4E-4D51-9C0E-13926B4FF229}" dt="2023-07-13T15:00:21.461" v="5156" actId="478"/>
          <ac:spMkLst>
            <pc:docMk/>
            <pc:sldMk cId="667833205" sldId="459"/>
            <ac:spMk id="7" creationId="{D9608A01-CBA6-877D-1BFB-D1352FFD67A7}"/>
          </ac:spMkLst>
        </pc:spChg>
        <pc:spChg chg="del">
          <ac:chgData name="Brito Cortés, Sofía Constanza" userId="bc780694-5ad3-4b43-9d08-68ceeeeb3a92" providerId="ADAL" clId="{78668647-0E4E-4D51-9C0E-13926B4FF229}" dt="2023-07-13T15:00:21.461" v="5156" actId="478"/>
          <ac:spMkLst>
            <pc:docMk/>
            <pc:sldMk cId="667833205" sldId="459"/>
            <ac:spMk id="8" creationId="{99F78117-3F32-8A2B-7920-69DE756448D7}"/>
          </ac:spMkLst>
        </pc:spChg>
        <pc:spChg chg="del">
          <ac:chgData name="Brito Cortés, Sofía Constanza" userId="bc780694-5ad3-4b43-9d08-68ceeeeb3a92" providerId="ADAL" clId="{78668647-0E4E-4D51-9C0E-13926B4FF229}" dt="2023-07-13T15:00:21.461" v="5156" actId="478"/>
          <ac:spMkLst>
            <pc:docMk/>
            <pc:sldMk cId="667833205" sldId="459"/>
            <ac:spMk id="9" creationId="{69C3A41C-F820-0352-6504-8553680263BB}"/>
          </ac:spMkLst>
        </pc:spChg>
        <pc:spChg chg="mod">
          <ac:chgData name="Brito Cortés, Sofía Constanza" userId="bc780694-5ad3-4b43-9d08-68ceeeeb3a92" providerId="ADAL" clId="{78668647-0E4E-4D51-9C0E-13926B4FF229}" dt="2023-07-13T15:01:03.462" v="5373" actId="14100"/>
          <ac:spMkLst>
            <pc:docMk/>
            <pc:sldMk cId="667833205" sldId="459"/>
            <ac:spMk id="10" creationId="{3CBEAD6F-F1C1-7AAF-A62F-652C6D10E52E}"/>
          </ac:spMkLst>
        </pc:spChg>
        <pc:spChg chg="add mod replST">
          <ac:chgData name="Brito Cortés, Sofía Constanza" userId="bc780694-5ad3-4b43-9d08-68ceeeeb3a92" providerId="ADAL" clId="{78668647-0E4E-4D51-9C0E-13926B4FF229}" dt="2023-07-13T15:00:22.466" v="5162"/>
          <ac:spMkLst>
            <pc:docMk/>
            <pc:sldMk cId="667833205" sldId="459"/>
            <ac:spMk id="11" creationId="{93411294-A0AB-1D70-8401-DD5F3C80077D}"/>
          </ac:spMkLst>
        </pc:spChg>
        <pc:spChg chg="add mod replST">
          <ac:chgData name="Brito Cortés, Sofía Constanza" userId="bc780694-5ad3-4b43-9d08-68ceeeeb3a92" providerId="ADAL" clId="{78668647-0E4E-4D51-9C0E-13926B4FF229}" dt="2023-07-13T15:00:22.469" v="5166"/>
          <ac:spMkLst>
            <pc:docMk/>
            <pc:sldMk cId="667833205" sldId="459"/>
            <ac:spMk id="12" creationId="{A4517A2C-1723-6B04-2F98-D27B962CAA24}"/>
          </ac:spMkLst>
        </pc:spChg>
        <pc:spChg chg="add mod replST">
          <ac:chgData name="Brito Cortés, Sofía Constanza" userId="bc780694-5ad3-4b43-9d08-68ceeeeb3a92" providerId="ADAL" clId="{78668647-0E4E-4D51-9C0E-13926B4FF229}" dt="2023-07-13T15:00:22.613" v="5252" actId="948"/>
          <ac:spMkLst>
            <pc:docMk/>
            <pc:sldMk cId="667833205" sldId="459"/>
            <ac:spMk id="13" creationId="{FD41E0F0-A19C-3FCE-A043-FB0037773CD7}"/>
          </ac:spMkLst>
        </pc:spChg>
        <pc:spChg chg="add mod replST">
          <ac:chgData name="Brito Cortés, Sofía Constanza" userId="bc780694-5ad3-4b43-9d08-68ceeeeb3a92" providerId="ADAL" clId="{78668647-0E4E-4D51-9C0E-13926B4FF229}" dt="2023-07-13T15:00:22.655" v="5290" actId="948"/>
          <ac:spMkLst>
            <pc:docMk/>
            <pc:sldMk cId="667833205" sldId="459"/>
            <ac:spMk id="14" creationId="{0BBD1A27-BDEE-32A4-C741-FFD9CD75AFA8}"/>
          </ac:spMkLst>
        </pc:spChg>
        <pc:spChg chg="add mod replST">
          <ac:chgData name="Brito Cortés, Sofía Constanza" userId="bc780694-5ad3-4b43-9d08-68ceeeeb3a92" providerId="ADAL" clId="{78668647-0E4E-4D51-9C0E-13926B4FF229}" dt="2023-07-13T15:00:22.660" v="5293" actId="948"/>
          <ac:spMkLst>
            <pc:docMk/>
            <pc:sldMk cId="667833205" sldId="459"/>
            <ac:spMk id="15" creationId="{7C9E39AD-1030-B34B-2D19-5BAF5EF60258}"/>
          </ac:spMkLst>
        </pc:spChg>
        <pc:spChg chg="add mod replST">
          <ac:chgData name="Brito Cortés, Sofía Constanza" userId="bc780694-5ad3-4b43-9d08-68ceeeeb3a92" providerId="ADAL" clId="{78668647-0E4E-4D51-9C0E-13926B4FF229}" dt="2023-07-13T15:00:22.664" v="5296" actId="948"/>
          <ac:spMkLst>
            <pc:docMk/>
            <pc:sldMk cId="667833205" sldId="459"/>
            <ac:spMk id="16" creationId="{F87B1D46-0C3A-B38A-DA8D-16C02E4C68A9}"/>
          </ac:spMkLst>
        </pc:spChg>
        <pc:spChg chg="add mod replST">
          <ac:chgData name="Brito Cortés, Sofía Constanza" userId="bc780694-5ad3-4b43-9d08-68ceeeeb3a92" providerId="ADAL" clId="{78668647-0E4E-4D51-9C0E-13926B4FF229}" dt="2023-07-13T15:00:22.684" v="5309"/>
          <ac:spMkLst>
            <pc:docMk/>
            <pc:sldMk cId="667833205" sldId="459"/>
            <ac:spMk id="27" creationId="{22EA5A39-DEAA-7CAC-45B0-C1D0EE195061}"/>
          </ac:spMkLst>
        </pc:spChg>
        <pc:spChg chg="add mod replST">
          <ac:chgData name="Brito Cortés, Sofía Constanza" userId="bc780694-5ad3-4b43-9d08-68ceeeeb3a92" providerId="ADAL" clId="{78668647-0E4E-4D51-9C0E-13926B4FF229}" dt="2023-07-13T15:00:22.693" v="5310"/>
          <ac:spMkLst>
            <pc:docMk/>
            <pc:sldMk cId="667833205" sldId="459"/>
            <ac:spMk id="28" creationId="{510A7E9A-4606-047E-96CC-9F225DC8CDAB}"/>
          </ac:spMkLst>
        </pc:spChg>
        <pc:spChg chg="add mod replST">
          <ac:chgData name="Brito Cortés, Sofía Constanza" userId="bc780694-5ad3-4b43-9d08-68ceeeeb3a92" providerId="ADAL" clId="{78668647-0E4E-4D51-9C0E-13926B4FF229}" dt="2023-07-13T15:00:22.470" v="5169"/>
          <ac:spMkLst>
            <pc:docMk/>
            <pc:sldMk cId="667833205" sldId="459"/>
            <ac:spMk id="29" creationId="{80D71C27-2B06-41BA-779A-D59AA7A4E702}"/>
          </ac:spMkLst>
        </pc:spChg>
        <pc:spChg chg="add mod replST">
          <ac:chgData name="Brito Cortés, Sofía Constanza" userId="bc780694-5ad3-4b43-9d08-68ceeeeb3a92" providerId="ADAL" clId="{78668647-0E4E-4D51-9C0E-13926B4FF229}" dt="2023-07-13T15:00:22.474" v="5177"/>
          <ac:spMkLst>
            <pc:docMk/>
            <pc:sldMk cId="667833205" sldId="459"/>
            <ac:spMk id="30" creationId="{F59D7F4F-91FD-1FAC-5AC9-3D29E22A0D82}"/>
          </ac:spMkLst>
        </pc:spChg>
        <pc:spChg chg="del">
          <ac:chgData name="Brito Cortés, Sofía Constanza" userId="bc780694-5ad3-4b43-9d08-68ceeeeb3a92" providerId="ADAL" clId="{78668647-0E4E-4D51-9C0E-13926B4FF229}" dt="2023-07-13T15:00:21.461" v="5156" actId="478"/>
          <ac:spMkLst>
            <pc:docMk/>
            <pc:sldMk cId="667833205" sldId="459"/>
            <ac:spMk id="31" creationId="{E7B1E926-FA9E-4D00-B6E5-0FA560C3E887}"/>
          </ac:spMkLst>
        </pc:spChg>
        <pc:spChg chg="del">
          <ac:chgData name="Brito Cortés, Sofía Constanza" userId="bc780694-5ad3-4b43-9d08-68ceeeeb3a92" providerId="ADAL" clId="{78668647-0E4E-4D51-9C0E-13926B4FF229}" dt="2023-07-13T15:00:21.461" v="5156" actId="478"/>
          <ac:spMkLst>
            <pc:docMk/>
            <pc:sldMk cId="667833205" sldId="459"/>
            <ac:spMk id="32" creationId="{26091BE0-EEE1-4645-83BF-399B5535257F}"/>
          </ac:spMkLst>
        </pc:spChg>
        <pc:spChg chg="add mod replST">
          <ac:chgData name="Brito Cortés, Sofía Constanza" userId="bc780694-5ad3-4b43-9d08-68ceeeeb3a92" providerId="ADAL" clId="{78668647-0E4E-4D51-9C0E-13926B4FF229}" dt="2023-07-13T15:00:22.478" v="5183"/>
          <ac:spMkLst>
            <pc:docMk/>
            <pc:sldMk cId="667833205" sldId="459"/>
            <ac:spMk id="33" creationId="{431DF274-4CD1-252C-6303-58013AE0AAD0}"/>
          </ac:spMkLst>
        </pc:spChg>
        <pc:spChg chg="add mod replST">
          <ac:chgData name="Brito Cortés, Sofía Constanza" userId="bc780694-5ad3-4b43-9d08-68ceeeeb3a92" providerId="ADAL" clId="{78668647-0E4E-4D51-9C0E-13926B4FF229}" dt="2023-07-13T15:00:22.474" v="5175"/>
          <ac:spMkLst>
            <pc:docMk/>
            <pc:sldMk cId="667833205" sldId="459"/>
            <ac:spMk id="34" creationId="{586054D6-9B13-F1DD-B781-58389C3E3234}"/>
          </ac:spMkLst>
        </pc:spChg>
        <pc:spChg chg="add mod replST">
          <ac:chgData name="Brito Cortés, Sofía Constanza" userId="bc780694-5ad3-4b43-9d08-68ceeeeb3a92" providerId="ADAL" clId="{78668647-0E4E-4D51-9C0E-13926B4FF229}" dt="2023-07-13T15:00:22.477" v="5181"/>
          <ac:spMkLst>
            <pc:docMk/>
            <pc:sldMk cId="667833205" sldId="459"/>
            <ac:spMk id="35" creationId="{B89FA94E-9E64-73BB-E1DC-9031167675DE}"/>
          </ac:spMkLst>
        </pc:spChg>
        <pc:spChg chg="add mod replST">
          <ac:chgData name="Brito Cortés, Sofía Constanza" userId="bc780694-5ad3-4b43-9d08-68ceeeeb3a92" providerId="ADAL" clId="{78668647-0E4E-4D51-9C0E-13926B4FF229}" dt="2023-07-13T15:00:22.472" v="5173"/>
          <ac:spMkLst>
            <pc:docMk/>
            <pc:sldMk cId="667833205" sldId="459"/>
            <ac:spMk id="36" creationId="{1446A096-992B-4496-2C62-5BD58392A2D4}"/>
          </ac:spMkLst>
        </pc:spChg>
        <pc:spChg chg="add mod replST">
          <ac:chgData name="Brito Cortés, Sofía Constanza" userId="bc780694-5ad3-4b43-9d08-68ceeeeb3a92" providerId="ADAL" clId="{78668647-0E4E-4D51-9C0E-13926B4FF229}" dt="2023-07-13T15:00:22.483" v="5189"/>
          <ac:spMkLst>
            <pc:docMk/>
            <pc:sldMk cId="667833205" sldId="459"/>
            <ac:spMk id="37" creationId="{4D03E464-D20F-EEF9-3A94-0FD1A9C72EBA}"/>
          </ac:spMkLst>
        </pc:spChg>
        <pc:spChg chg="add mod replST">
          <ac:chgData name="Brito Cortés, Sofía Constanza" userId="bc780694-5ad3-4b43-9d08-68ceeeeb3a92" providerId="ADAL" clId="{78668647-0E4E-4D51-9C0E-13926B4FF229}" dt="2023-07-13T15:00:22.475" v="5179"/>
          <ac:spMkLst>
            <pc:docMk/>
            <pc:sldMk cId="667833205" sldId="459"/>
            <ac:spMk id="38" creationId="{84098658-BD5F-CCAB-0328-F405E00FE7AB}"/>
          </ac:spMkLst>
        </pc:spChg>
        <pc:spChg chg="add mod replST">
          <ac:chgData name="Brito Cortés, Sofía Constanza" userId="bc780694-5ad3-4b43-9d08-68ceeeeb3a92" providerId="ADAL" clId="{78668647-0E4E-4D51-9C0E-13926B4FF229}" dt="2023-07-13T15:00:22.471" v="5171"/>
          <ac:spMkLst>
            <pc:docMk/>
            <pc:sldMk cId="667833205" sldId="459"/>
            <ac:spMk id="39" creationId="{E8521B0E-9D76-C45C-5CB2-C79A875E2F22}"/>
          </ac:spMkLst>
        </pc:spChg>
        <pc:spChg chg="add mod replST">
          <ac:chgData name="Brito Cortés, Sofía Constanza" userId="bc780694-5ad3-4b43-9d08-68ceeeeb3a92" providerId="ADAL" clId="{78668647-0E4E-4D51-9C0E-13926B4FF229}" dt="2023-07-13T15:00:22.481" v="5187"/>
          <ac:spMkLst>
            <pc:docMk/>
            <pc:sldMk cId="667833205" sldId="459"/>
            <ac:spMk id="40" creationId="{CB2C9B9E-4664-DA04-3408-FB8158F0E3A1}"/>
          </ac:spMkLst>
        </pc:spChg>
        <pc:spChg chg="add mod replST">
          <ac:chgData name="Brito Cortés, Sofía Constanza" userId="bc780694-5ad3-4b43-9d08-68ceeeeb3a92" providerId="ADAL" clId="{78668647-0E4E-4D51-9C0E-13926B4FF229}" dt="2023-07-13T15:00:22.677" v="5305" actId="948"/>
          <ac:spMkLst>
            <pc:docMk/>
            <pc:sldMk cId="667833205" sldId="459"/>
            <ac:spMk id="41" creationId="{30B729CC-3B6C-76E8-B9F2-6D290DE663C6}"/>
          </ac:spMkLst>
        </pc:spChg>
        <pc:spChg chg="add mod replST">
          <ac:chgData name="Brito Cortés, Sofía Constanza" userId="bc780694-5ad3-4b43-9d08-68ceeeeb3a92" providerId="ADAL" clId="{78668647-0E4E-4D51-9C0E-13926B4FF229}" dt="2023-07-13T15:00:22.605" v="5246"/>
          <ac:spMkLst>
            <pc:docMk/>
            <pc:sldMk cId="667833205" sldId="459"/>
            <ac:spMk id="42" creationId="{274E3E42-5123-6B34-B0AC-EDEA2D127D1A}"/>
          </ac:spMkLst>
        </pc:spChg>
        <pc:spChg chg="add mod replST">
          <ac:chgData name="Brito Cortés, Sofía Constanza" userId="bc780694-5ad3-4b43-9d08-68ceeeeb3a92" providerId="ADAL" clId="{78668647-0E4E-4D51-9C0E-13926B4FF229}" dt="2023-07-13T15:00:22.675" v="5303" actId="948"/>
          <ac:spMkLst>
            <pc:docMk/>
            <pc:sldMk cId="667833205" sldId="459"/>
            <ac:spMk id="43" creationId="{156A84EA-1C0C-291F-0AC0-A00D9D6A4453}"/>
          </ac:spMkLst>
        </pc:spChg>
        <pc:spChg chg="add mod replST">
          <ac:chgData name="Brito Cortés, Sofía Constanza" userId="bc780694-5ad3-4b43-9d08-68ceeeeb3a92" providerId="ADAL" clId="{78668647-0E4E-4D51-9C0E-13926B4FF229}" dt="2023-07-13T15:00:22.609" v="5249"/>
          <ac:spMkLst>
            <pc:docMk/>
            <pc:sldMk cId="667833205" sldId="459"/>
            <ac:spMk id="44" creationId="{366DC784-F481-4388-5CC9-4AF3F2CAADA5}"/>
          </ac:spMkLst>
        </pc:spChg>
        <pc:spChg chg="add mod replST">
          <ac:chgData name="Brito Cortés, Sofía Constanza" userId="bc780694-5ad3-4b43-9d08-68ceeeeb3a92" providerId="ADAL" clId="{78668647-0E4E-4D51-9C0E-13926B4FF229}" dt="2023-07-13T15:00:22.607" v="5248"/>
          <ac:spMkLst>
            <pc:docMk/>
            <pc:sldMk cId="667833205" sldId="459"/>
            <ac:spMk id="45" creationId="{3AEA117D-633C-3A66-C4BF-F295C66D6BE5}"/>
          </ac:spMkLst>
        </pc:spChg>
        <pc:spChg chg="add mod replST">
          <ac:chgData name="Brito Cortés, Sofía Constanza" userId="bc780694-5ad3-4b43-9d08-68ceeeeb3a92" providerId="ADAL" clId="{78668647-0E4E-4D51-9C0E-13926B4FF229}" dt="2023-07-13T15:00:22.610" v="5250"/>
          <ac:spMkLst>
            <pc:docMk/>
            <pc:sldMk cId="667833205" sldId="459"/>
            <ac:spMk id="46" creationId="{8D87EEBC-C628-933C-01A1-AF0C4A07C51C}"/>
          </ac:spMkLst>
        </pc:spChg>
        <pc:spChg chg="add mod replST">
          <ac:chgData name="Brito Cortés, Sofía Constanza" userId="bc780694-5ad3-4b43-9d08-68ceeeeb3a92" providerId="ADAL" clId="{78668647-0E4E-4D51-9C0E-13926B4FF229}" dt="2023-07-13T15:00:22.603" v="5245"/>
          <ac:spMkLst>
            <pc:docMk/>
            <pc:sldMk cId="667833205" sldId="459"/>
            <ac:spMk id="47" creationId="{A37E014F-0BBB-265D-C044-591B3CC924BB}"/>
          </ac:spMkLst>
        </pc:spChg>
        <pc:spChg chg="add mod replST">
          <ac:chgData name="Brito Cortés, Sofía Constanza" userId="bc780694-5ad3-4b43-9d08-68ceeeeb3a92" providerId="ADAL" clId="{78668647-0E4E-4D51-9C0E-13926B4FF229}" dt="2023-07-13T15:00:22.680" v="5307" actId="948"/>
          <ac:spMkLst>
            <pc:docMk/>
            <pc:sldMk cId="667833205" sldId="459"/>
            <ac:spMk id="48" creationId="{CD766343-FEF9-62DA-E613-FF39D5F55DF3}"/>
          </ac:spMkLst>
        </pc:spChg>
        <pc:spChg chg="add mod replST">
          <ac:chgData name="Brito Cortés, Sofía Constanza" userId="bc780694-5ad3-4b43-9d08-68ceeeeb3a92" providerId="ADAL" clId="{78668647-0E4E-4D51-9C0E-13926B4FF229}" dt="2023-07-13T15:00:22.611" v="5251"/>
          <ac:spMkLst>
            <pc:docMk/>
            <pc:sldMk cId="667833205" sldId="459"/>
            <ac:spMk id="49" creationId="{8CCF9343-BC87-0258-125C-E7561D9DEE5C}"/>
          </ac:spMkLst>
        </pc:spChg>
        <pc:spChg chg="add mod replST">
          <ac:chgData name="Brito Cortés, Sofía Constanza" userId="bc780694-5ad3-4b43-9d08-68ceeeeb3a92" providerId="ADAL" clId="{78668647-0E4E-4D51-9C0E-13926B4FF229}" dt="2023-07-13T15:00:22.606" v="5247"/>
          <ac:spMkLst>
            <pc:docMk/>
            <pc:sldMk cId="667833205" sldId="459"/>
            <ac:spMk id="50" creationId="{DFF1BFD7-65EA-C807-2045-F243E52D4F17}"/>
          </ac:spMkLst>
        </pc:spChg>
        <pc:spChg chg="add mod replST">
          <ac:chgData name="Brito Cortés, Sofía Constanza" userId="bc780694-5ad3-4b43-9d08-68ceeeeb3a92" providerId="ADAL" clId="{78668647-0E4E-4D51-9C0E-13926B4FF229}" dt="2023-07-13T15:00:22.674" v="5302" actId="948"/>
          <ac:spMkLst>
            <pc:docMk/>
            <pc:sldMk cId="667833205" sldId="459"/>
            <ac:spMk id="51" creationId="{3D848D6D-8105-2FF3-E6DF-EBCBE901E0E8}"/>
          </ac:spMkLst>
        </pc:spChg>
        <pc:spChg chg="add mod replST">
          <ac:chgData name="Brito Cortés, Sofía Constanza" userId="bc780694-5ad3-4b43-9d08-68ceeeeb3a92" providerId="ADAL" clId="{78668647-0E4E-4D51-9C0E-13926B4FF229}" dt="2023-07-13T15:00:22.679" v="5306" actId="948"/>
          <ac:spMkLst>
            <pc:docMk/>
            <pc:sldMk cId="667833205" sldId="459"/>
            <ac:spMk id="52" creationId="{74A610E6-2F48-EF91-1FB0-8424198F7C60}"/>
          </ac:spMkLst>
        </pc:spChg>
        <pc:spChg chg="add mod replST">
          <ac:chgData name="Brito Cortés, Sofía Constanza" userId="bc780694-5ad3-4b43-9d08-68ceeeeb3a92" providerId="ADAL" clId="{78668647-0E4E-4D51-9C0E-13926B4FF229}" dt="2023-07-13T15:00:22.676" v="5304" actId="948"/>
          <ac:spMkLst>
            <pc:docMk/>
            <pc:sldMk cId="667833205" sldId="459"/>
            <ac:spMk id="53" creationId="{6F3C6199-6CEF-1EA8-71A5-890578BD4512}"/>
          </ac:spMkLst>
        </pc:spChg>
        <pc:spChg chg="add mod replST">
          <ac:chgData name="Brito Cortés, Sofía Constanza" userId="bc780694-5ad3-4b43-9d08-68ceeeeb3a92" providerId="ADAL" clId="{78668647-0E4E-4D51-9C0E-13926B4FF229}" dt="2023-07-13T15:00:22.673" v="5301" actId="948"/>
          <ac:spMkLst>
            <pc:docMk/>
            <pc:sldMk cId="667833205" sldId="459"/>
            <ac:spMk id="54" creationId="{105DACB6-6A95-D304-722F-16F32897AE7F}"/>
          </ac:spMkLst>
        </pc:spChg>
        <pc:spChg chg="add mod replST">
          <ac:chgData name="Brito Cortés, Sofía Constanza" userId="bc780694-5ad3-4b43-9d08-68ceeeeb3a92" providerId="ADAL" clId="{78668647-0E4E-4D51-9C0E-13926B4FF229}" dt="2023-07-13T15:00:22.682" v="5308" actId="948"/>
          <ac:spMkLst>
            <pc:docMk/>
            <pc:sldMk cId="667833205" sldId="459"/>
            <ac:spMk id="55" creationId="{2B60AC59-0734-4252-7CF8-92206793DBE8}"/>
          </ac:spMkLst>
        </pc:spChg>
        <pc:spChg chg="add del mod modVis">
          <ac:chgData name="Brito Cortés, Sofía Constanza" userId="bc780694-5ad3-4b43-9d08-68ceeeeb3a92" providerId="ADAL" clId="{78668647-0E4E-4D51-9C0E-13926B4FF229}" dt="2023-07-13T15:00:22.699" v="5314"/>
          <ac:spMkLst>
            <pc:docMk/>
            <pc:sldMk cId="667833205" sldId="459"/>
            <ac:spMk id="56" creationId="{F9B68233-E322-8B90-78B0-DDA118AC5362}"/>
          </ac:spMkLst>
        </pc:spChg>
        <pc:spChg chg="add del mod">
          <ac:chgData name="Brito Cortés, Sofía Constanza" userId="bc780694-5ad3-4b43-9d08-68ceeeeb3a92" providerId="ADAL" clId="{78668647-0E4E-4D51-9C0E-13926B4FF229}" dt="2023-07-13T15:00:52.652" v="5372" actId="478"/>
          <ac:spMkLst>
            <pc:docMk/>
            <pc:sldMk cId="667833205" sldId="459"/>
            <ac:spMk id="57" creationId="{AB216005-7E20-21F2-E15B-25D3B51ECB18}"/>
          </ac:spMkLst>
        </pc:spChg>
        <pc:graphicFrameChg chg="mod">
          <ac:chgData name="Brito Cortés, Sofía Constanza" userId="bc780694-5ad3-4b43-9d08-68ceeeeb3a92" providerId="ADAL" clId="{78668647-0E4E-4D51-9C0E-13926B4FF229}" dt="2023-07-13T15:00:22.703" v="5316"/>
          <ac:graphicFrameMkLst>
            <pc:docMk/>
            <pc:sldMk cId="667833205" sldId="459"/>
            <ac:graphicFrameMk id="4" creationId="{97AD468B-D6B0-16E5-4AC1-379B1ACC973D}"/>
          </ac:graphicFrameMkLst>
        </pc:graphicFrameChg>
        <pc:cxnChg chg="add mod replST">
          <ac:chgData name="Brito Cortés, Sofía Constanza" userId="bc780694-5ad3-4b43-9d08-68ceeeeb3a92" providerId="ADAL" clId="{78668647-0E4E-4D51-9C0E-13926B4FF229}" dt="2023-07-13T15:00:22.485" v="5193"/>
          <ac:cxnSpMkLst>
            <pc:docMk/>
            <pc:sldMk cId="667833205" sldId="459"/>
            <ac:cxnSpMk id="17" creationId="{4249D4E4-E892-9617-46B7-4D7A42EED291}"/>
          </ac:cxnSpMkLst>
        </pc:cxnChg>
        <pc:cxnChg chg="add mod replST">
          <ac:chgData name="Brito Cortés, Sofía Constanza" userId="bc780694-5ad3-4b43-9d08-68ceeeeb3a92" providerId="ADAL" clId="{78668647-0E4E-4D51-9C0E-13926B4FF229}" dt="2023-07-13T15:00:22.485" v="5192"/>
          <ac:cxnSpMkLst>
            <pc:docMk/>
            <pc:sldMk cId="667833205" sldId="459"/>
            <ac:cxnSpMk id="18" creationId="{89FDFF7C-FDD1-5A20-D8B9-C002C769B099}"/>
          </ac:cxnSpMkLst>
        </pc:cxnChg>
        <pc:cxnChg chg="add mod replST">
          <ac:chgData name="Brito Cortés, Sofía Constanza" userId="bc780694-5ad3-4b43-9d08-68ceeeeb3a92" providerId="ADAL" clId="{78668647-0E4E-4D51-9C0E-13926B4FF229}" dt="2023-07-13T15:00:22.486" v="5194"/>
          <ac:cxnSpMkLst>
            <pc:docMk/>
            <pc:sldMk cId="667833205" sldId="459"/>
            <ac:cxnSpMk id="19" creationId="{4B70D983-845D-90CD-2F45-A8DD6DBE1E24}"/>
          </ac:cxnSpMkLst>
        </pc:cxnChg>
        <pc:cxnChg chg="add mod replST">
          <ac:chgData name="Brito Cortés, Sofía Constanza" userId="bc780694-5ad3-4b43-9d08-68ceeeeb3a92" providerId="ADAL" clId="{78668647-0E4E-4D51-9C0E-13926B4FF229}" dt="2023-07-13T15:00:22.488" v="5199"/>
          <ac:cxnSpMkLst>
            <pc:docMk/>
            <pc:sldMk cId="667833205" sldId="459"/>
            <ac:cxnSpMk id="20" creationId="{DFE7223B-CC01-6C21-62E0-506D4A2D45BF}"/>
          </ac:cxnSpMkLst>
        </pc:cxnChg>
        <pc:cxnChg chg="add mod replST">
          <ac:chgData name="Brito Cortés, Sofía Constanza" userId="bc780694-5ad3-4b43-9d08-68ceeeeb3a92" providerId="ADAL" clId="{78668647-0E4E-4D51-9C0E-13926B4FF229}" dt="2023-07-13T15:00:22.486" v="5195"/>
          <ac:cxnSpMkLst>
            <pc:docMk/>
            <pc:sldMk cId="667833205" sldId="459"/>
            <ac:cxnSpMk id="21" creationId="{B89D5DDC-0B9C-D182-00CB-F56D29385A00}"/>
          </ac:cxnSpMkLst>
        </pc:cxnChg>
        <pc:cxnChg chg="add mod replST">
          <ac:chgData name="Brito Cortés, Sofía Constanza" userId="bc780694-5ad3-4b43-9d08-68ceeeeb3a92" providerId="ADAL" clId="{78668647-0E4E-4D51-9C0E-13926B4FF229}" dt="2023-07-13T15:00:22.487" v="5197"/>
          <ac:cxnSpMkLst>
            <pc:docMk/>
            <pc:sldMk cId="667833205" sldId="459"/>
            <ac:cxnSpMk id="22" creationId="{189B1367-0725-71F2-CE0A-B3303F28EB98}"/>
          </ac:cxnSpMkLst>
        </pc:cxnChg>
        <pc:cxnChg chg="add mod replST">
          <ac:chgData name="Brito Cortés, Sofía Constanza" userId="bc780694-5ad3-4b43-9d08-68ceeeeb3a92" providerId="ADAL" clId="{78668647-0E4E-4D51-9C0E-13926B4FF229}" dt="2023-07-13T15:00:22.488" v="5200"/>
          <ac:cxnSpMkLst>
            <pc:docMk/>
            <pc:sldMk cId="667833205" sldId="459"/>
            <ac:cxnSpMk id="23" creationId="{1108F18C-1543-2149-F275-F8E00CDA4C14}"/>
          </ac:cxnSpMkLst>
        </pc:cxnChg>
        <pc:cxnChg chg="add mod replST">
          <ac:chgData name="Brito Cortés, Sofía Constanza" userId="bc780694-5ad3-4b43-9d08-68ceeeeb3a92" providerId="ADAL" clId="{78668647-0E4E-4D51-9C0E-13926B4FF229}" dt="2023-07-13T15:00:22.470" v="5168"/>
          <ac:cxnSpMkLst>
            <pc:docMk/>
            <pc:sldMk cId="667833205" sldId="459"/>
            <ac:cxnSpMk id="24" creationId="{329F7A4A-EE5A-B1B4-86EA-26C5A308B724}"/>
          </ac:cxnSpMkLst>
        </pc:cxnChg>
        <pc:cxnChg chg="add mod replST">
          <ac:chgData name="Brito Cortés, Sofía Constanza" userId="bc780694-5ad3-4b43-9d08-68ceeeeb3a92" providerId="ADAL" clId="{78668647-0E4E-4D51-9C0E-13926B4FF229}" dt="2023-07-13T15:00:22.487" v="5198"/>
          <ac:cxnSpMkLst>
            <pc:docMk/>
            <pc:sldMk cId="667833205" sldId="459"/>
            <ac:cxnSpMk id="25" creationId="{AC6C15CA-7765-6E5D-28EA-450E6183D05C}"/>
          </ac:cxnSpMkLst>
        </pc:cxnChg>
        <pc:cxnChg chg="add mod replST">
          <ac:chgData name="Brito Cortés, Sofía Constanza" userId="bc780694-5ad3-4b43-9d08-68ceeeeb3a92" providerId="ADAL" clId="{78668647-0E4E-4D51-9C0E-13926B4FF229}" dt="2023-07-13T15:00:22.486" v="5196"/>
          <ac:cxnSpMkLst>
            <pc:docMk/>
            <pc:sldMk cId="667833205" sldId="459"/>
            <ac:cxnSpMk id="26" creationId="{4CE9DB7E-D55F-8832-3D63-7E63D1653DA8}"/>
          </ac:cxnSpMkLst>
        </pc:cxnChg>
      </pc:sldChg>
      <pc:sldChg chg="addSp delSp modSp mod">
        <pc:chgData name="Brito Cortés, Sofía Constanza" userId="bc780694-5ad3-4b43-9d08-68ceeeeb3a92" providerId="ADAL" clId="{78668647-0E4E-4D51-9C0E-13926B4FF229}" dt="2023-07-13T14:58:09.449" v="5085" actId="478"/>
        <pc:sldMkLst>
          <pc:docMk/>
          <pc:sldMk cId="2049217080" sldId="477"/>
        </pc:sldMkLst>
        <pc:spChg chg="mod">
          <ac:chgData name="Brito Cortés, Sofía Constanza" userId="bc780694-5ad3-4b43-9d08-68ceeeeb3a92" providerId="ADAL" clId="{78668647-0E4E-4D51-9C0E-13926B4FF229}" dt="2023-07-13T14:57:56.957" v="5083" actId="14100"/>
          <ac:spMkLst>
            <pc:docMk/>
            <pc:sldMk cId="2049217080" sldId="477"/>
            <ac:spMk id="3" creationId="{00000000-0000-0000-0000-000000000000}"/>
          </ac:spMkLst>
        </pc:spChg>
        <pc:spChg chg="add del mod">
          <ac:chgData name="Brito Cortés, Sofía Constanza" userId="bc780694-5ad3-4b43-9d08-68ceeeeb3a92" providerId="ADAL" clId="{78668647-0E4E-4D51-9C0E-13926B4FF229}" dt="2023-07-13T14:58:09.449" v="5085" actId="478"/>
          <ac:spMkLst>
            <pc:docMk/>
            <pc:sldMk cId="2049217080" sldId="477"/>
            <ac:spMk id="4" creationId="{23C3A626-0916-B1B7-1E06-DA90AD79B57D}"/>
          </ac:spMkLst>
        </pc:spChg>
        <pc:spChg chg="mod">
          <ac:chgData name="Brito Cortés, Sofía Constanza" userId="bc780694-5ad3-4b43-9d08-68ceeeeb3a92" providerId="ADAL" clId="{78668647-0E4E-4D51-9C0E-13926B4FF229}" dt="2023-07-13T14:58:02.195" v="5084" actId="14100"/>
          <ac:spMkLst>
            <pc:docMk/>
            <pc:sldMk cId="2049217080" sldId="477"/>
            <ac:spMk id="5" creationId="{FD28D9B7-6B26-40CD-535E-6FCA0C7A40C7}"/>
          </ac:spMkLst>
        </pc:spChg>
      </pc:sldChg>
      <pc:sldChg chg="addSp delSp modSp mod">
        <pc:chgData name="Brito Cortés, Sofía Constanza" userId="bc780694-5ad3-4b43-9d08-68ceeeeb3a92" providerId="ADAL" clId="{78668647-0E4E-4D51-9C0E-13926B4FF229}" dt="2023-07-13T15:48:33.146" v="5556" actId="478"/>
        <pc:sldMkLst>
          <pc:docMk/>
          <pc:sldMk cId="3263830898" sldId="484"/>
        </pc:sldMkLst>
        <pc:spChg chg="mod">
          <ac:chgData name="Brito Cortés, Sofía Constanza" userId="bc780694-5ad3-4b43-9d08-68ceeeeb3a92" providerId="ADAL" clId="{78668647-0E4E-4D51-9C0E-13926B4FF229}" dt="2023-07-13T14:57:31.479" v="5080" actId="14100"/>
          <ac:spMkLst>
            <pc:docMk/>
            <pc:sldMk cId="3263830898" sldId="484"/>
            <ac:spMk id="3" creationId="{00000000-0000-0000-0000-000000000000}"/>
          </ac:spMkLst>
        </pc:spChg>
        <pc:spChg chg="add del mod">
          <ac:chgData name="Brito Cortés, Sofía Constanza" userId="bc780694-5ad3-4b43-9d08-68ceeeeb3a92" providerId="ADAL" clId="{78668647-0E4E-4D51-9C0E-13926B4FF229}" dt="2023-07-13T15:43:37.021" v="5551"/>
          <ac:spMkLst>
            <pc:docMk/>
            <pc:sldMk cId="3263830898" sldId="484"/>
            <ac:spMk id="4" creationId="{E86609B8-CD94-4545-E567-FE0CF9B89D2F}"/>
          </ac:spMkLst>
        </pc:spChg>
        <pc:spChg chg="mod">
          <ac:chgData name="Brito Cortés, Sofía Constanza" userId="bc780694-5ad3-4b43-9d08-68ceeeeb3a92" providerId="ADAL" clId="{78668647-0E4E-4D51-9C0E-13926B4FF229}" dt="2023-07-13T14:57:22.631" v="5079" actId="14100"/>
          <ac:spMkLst>
            <pc:docMk/>
            <pc:sldMk cId="3263830898" sldId="484"/>
            <ac:spMk id="20" creationId="{3B0DFADB-6FF9-891F-AB8B-165A9857B5F8}"/>
          </ac:spMkLst>
        </pc:spChg>
        <pc:spChg chg="add del mod">
          <ac:chgData name="Brito Cortés, Sofía Constanza" userId="bc780694-5ad3-4b43-9d08-68ceeeeb3a92" providerId="ADAL" clId="{78668647-0E4E-4D51-9C0E-13926B4FF229}" dt="2023-07-13T15:48:33.146" v="5556" actId="478"/>
          <ac:spMkLst>
            <pc:docMk/>
            <pc:sldMk cId="3263830898" sldId="484"/>
            <ac:spMk id="21" creationId="{95C4B582-A0B7-AE8B-2ACA-E553C26639E3}"/>
          </ac:spMkLst>
        </pc:spChg>
      </pc:sldChg>
      <pc:sldChg chg="addSp delSp modSp mod">
        <pc:chgData name="Brito Cortés, Sofía Constanza" userId="bc780694-5ad3-4b43-9d08-68ceeeeb3a92" providerId="ADAL" clId="{78668647-0E4E-4D51-9C0E-13926B4FF229}" dt="2023-07-13T15:40:52.042" v="5456" actId="478"/>
        <pc:sldMkLst>
          <pc:docMk/>
          <pc:sldMk cId="2761900561" sldId="504"/>
        </pc:sldMkLst>
        <pc:spChg chg="mod">
          <ac:chgData name="Brito Cortés, Sofía Constanza" userId="bc780694-5ad3-4b43-9d08-68ceeeeb3a92" providerId="ADAL" clId="{78668647-0E4E-4D51-9C0E-13926B4FF229}" dt="2023-07-13T15:31:14.575" v="5431" actId="14100"/>
          <ac:spMkLst>
            <pc:docMk/>
            <pc:sldMk cId="2761900561" sldId="504"/>
            <ac:spMk id="3" creationId="{00000000-0000-0000-0000-000000000000}"/>
          </ac:spMkLst>
        </pc:spChg>
        <pc:spChg chg="add del mod">
          <ac:chgData name="Brito Cortés, Sofía Constanza" userId="bc780694-5ad3-4b43-9d08-68ceeeeb3a92" providerId="ADAL" clId="{78668647-0E4E-4D51-9C0E-13926B4FF229}" dt="2023-07-13T15:31:17.683" v="5432" actId="478"/>
          <ac:spMkLst>
            <pc:docMk/>
            <pc:sldMk cId="2761900561" sldId="504"/>
            <ac:spMk id="4" creationId="{34E7A536-A9BE-968D-C24E-8623D085316B}"/>
          </ac:spMkLst>
        </pc:spChg>
        <pc:spChg chg="add del mod">
          <ac:chgData name="Brito Cortés, Sofía Constanza" userId="bc780694-5ad3-4b43-9d08-68ceeeeb3a92" providerId="ADAL" clId="{78668647-0E4E-4D51-9C0E-13926B4FF229}" dt="2023-07-13T15:40:52.042" v="5456" actId="478"/>
          <ac:spMkLst>
            <pc:docMk/>
            <pc:sldMk cId="2761900561" sldId="504"/>
            <ac:spMk id="13" creationId="{B9799D37-9717-2023-7F52-3B1DA999A6D7}"/>
          </ac:spMkLst>
        </pc:spChg>
      </pc:sldChg>
      <pc:sldChg chg="addSp delSp modSp mod">
        <pc:chgData name="Brito Cortés, Sofía Constanza" userId="bc780694-5ad3-4b43-9d08-68ceeeeb3a92" providerId="ADAL" clId="{78668647-0E4E-4D51-9C0E-13926B4FF229}" dt="2023-07-13T15:42:35.197" v="5527" actId="14100"/>
        <pc:sldMkLst>
          <pc:docMk/>
          <pc:sldMk cId="1286888167" sldId="537"/>
        </pc:sldMkLst>
        <pc:spChg chg="add del mod">
          <ac:chgData name="Brito Cortés, Sofía Constanza" userId="bc780694-5ad3-4b43-9d08-68ceeeeb3a92" providerId="ADAL" clId="{78668647-0E4E-4D51-9C0E-13926B4FF229}" dt="2023-07-13T15:42:29.351" v="5526" actId="478"/>
          <ac:spMkLst>
            <pc:docMk/>
            <pc:sldMk cId="1286888167" sldId="537"/>
            <ac:spMk id="3" creationId="{90C3E554-CD66-30F8-5A68-6585979EAD93}"/>
          </ac:spMkLst>
        </pc:spChg>
        <pc:spChg chg="mod">
          <ac:chgData name="Brito Cortés, Sofía Constanza" userId="bc780694-5ad3-4b43-9d08-68ceeeeb3a92" providerId="ADAL" clId="{78668647-0E4E-4D51-9C0E-13926B4FF229}" dt="2023-07-13T15:42:35.197" v="5527" actId="14100"/>
          <ac:spMkLst>
            <pc:docMk/>
            <pc:sldMk cId="1286888167" sldId="537"/>
            <ac:spMk id="4" creationId="{CABA5365-DCE8-0064-50B8-66B64BA9DA7B}"/>
          </ac:spMkLst>
        </pc:spChg>
        <pc:spChg chg="mod">
          <ac:chgData name="Brito Cortés, Sofía Constanza" userId="bc780694-5ad3-4b43-9d08-68ceeeeb3a92" providerId="ADAL" clId="{78668647-0E4E-4D51-9C0E-13926B4FF229}" dt="2023-07-13T15:42:21.472" v="5525" actId="14100"/>
          <ac:spMkLst>
            <pc:docMk/>
            <pc:sldMk cId="1286888167" sldId="537"/>
            <ac:spMk id="107" creationId="{00000000-0000-0000-0000-000000000000}"/>
          </ac:spMkLst>
        </pc:spChg>
      </pc:sldChg>
      <pc:sldChg chg="addSp delSp modSp mod">
        <pc:chgData name="Brito Cortés, Sofía Constanza" userId="bc780694-5ad3-4b43-9d08-68ceeeeb3a92" providerId="ADAL" clId="{78668647-0E4E-4D51-9C0E-13926B4FF229}" dt="2023-07-13T15:42:54.605" v="5548" actId="478"/>
        <pc:sldMkLst>
          <pc:docMk/>
          <pc:sldMk cId="822483613" sldId="538"/>
        </pc:sldMkLst>
        <pc:spChg chg="mod ord">
          <ac:chgData name="Brito Cortés, Sofía Constanza" userId="bc780694-5ad3-4b43-9d08-68ceeeeb3a92" providerId="ADAL" clId="{78668647-0E4E-4D51-9C0E-13926B4FF229}" dt="2023-07-13T14:49:02.398" v="5021"/>
          <ac:spMkLst>
            <pc:docMk/>
            <pc:sldMk cId="822483613" sldId="538"/>
            <ac:spMk id="2" creationId="{00000000-0000-0000-0000-000000000000}"/>
          </ac:spMkLst>
        </pc:spChg>
        <pc:spChg chg="mod ord">
          <ac:chgData name="Brito Cortés, Sofía Constanza" userId="bc780694-5ad3-4b43-9d08-68ceeeeb3a92" providerId="ADAL" clId="{78668647-0E4E-4D51-9C0E-13926B4FF229}" dt="2023-07-13T15:42:51.243" v="5547" actId="14100"/>
          <ac:spMkLst>
            <pc:docMk/>
            <pc:sldMk cId="822483613" sldId="538"/>
            <ac:spMk id="3" creationId="{00000000-0000-0000-0000-000000000000}"/>
          </ac:spMkLst>
        </pc:spChg>
        <pc:spChg chg="add del mod replST">
          <ac:chgData name="Brito Cortés, Sofía Constanza" userId="bc780694-5ad3-4b43-9d08-68ceeeeb3a92" providerId="ADAL" clId="{78668647-0E4E-4D51-9C0E-13926B4FF229}" dt="2023-07-13T14:36:07.328" v="1475"/>
          <ac:spMkLst>
            <pc:docMk/>
            <pc:sldMk cId="822483613" sldId="538"/>
            <ac:spMk id="4" creationId="{8EBDBA09-EDD8-FFE9-5AB1-157BBCC9C430}"/>
          </ac:spMkLst>
        </pc:spChg>
        <pc:spChg chg="add del mod replST">
          <ac:chgData name="Brito Cortés, Sofía Constanza" userId="bc780694-5ad3-4b43-9d08-68ceeeeb3a92" providerId="ADAL" clId="{78668647-0E4E-4D51-9C0E-13926B4FF229}" dt="2023-07-13T14:36:07.389" v="1537"/>
          <ac:spMkLst>
            <pc:docMk/>
            <pc:sldMk cId="822483613" sldId="538"/>
            <ac:spMk id="5" creationId="{8EBDBA09-EDD8-FFE9-5AB1-157BBCC9C430}"/>
          </ac:spMkLst>
        </pc:spChg>
        <pc:spChg chg="mod ord">
          <ac:chgData name="Brito Cortés, Sofía Constanza" userId="bc780694-5ad3-4b43-9d08-68ceeeeb3a92" providerId="ADAL" clId="{78668647-0E4E-4D51-9C0E-13926B4FF229}" dt="2023-07-13T14:49:02.397" v="5019"/>
          <ac:spMkLst>
            <pc:docMk/>
            <pc:sldMk cId="822483613" sldId="538"/>
            <ac:spMk id="6" creationId="{31682B9A-6B46-5E2E-2587-48EE870FEDD8}"/>
          </ac:spMkLst>
        </pc:spChg>
        <pc:spChg chg="add del mod replST">
          <ac:chgData name="Brito Cortés, Sofía Constanza" userId="bc780694-5ad3-4b43-9d08-68ceeeeb3a92" providerId="ADAL" clId="{78668647-0E4E-4D51-9C0E-13926B4FF229}" dt="2023-07-13T14:36:07.452" v="1596"/>
          <ac:spMkLst>
            <pc:docMk/>
            <pc:sldMk cId="822483613" sldId="538"/>
            <ac:spMk id="7" creationId="{8EBDBA09-EDD8-FFE9-5AB1-157BBCC9C430}"/>
          </ac:spMkLst>
        </pc:spChg>
        <pc:spChg chg="add del mod replST">
          <ac:chgData name="Brito Cortés, Sofía Constanza" userId="bc780694-5ad3-4b43-9d08-68ceeeeb3a92" providerId="ADAL" clId="{78668647-0E4E-4D51-9C0E-13926B4FF229}" dt="2023-07-13T14:36:07.519" v="1658"/>
          <ac:spMkLst>
            <pc:docMk/>
            <pc:sldMk cId="822483613" sldId="538"/>
            <ac:spMk id="8" creationId="{8EBDBA09-EDD8-FFE9-5AB1-157BBCC9C430}"/>
          </ac:spMkLst>
        </pc:spChg>
        <pc:spChg chg="add del mod replST">
          <ac:chgData name="Brito Cortés, Sofía Constanza" userId="bc780694-5ad3-4b43-9d08-68ceeeeb3a92" providerId="ADAL" clId="{78668647-0E4E-4D51-9C0E-13926B4FF229}" dt="2023-07-13T14:36:07.586" v="1717"/>
          <ac:spMkLst>
            <pc:docMk/>
            <pc:sldMk cId="822483613" sldId="538"/>
            <ac:spMk id="9" creationId="{8EBDBA09-EDD8-FFE9-5AB1-157BBCC9C430}"/>
          </ac:spMkLst>
        </pc:spChg>
        <pc:spChg chg="add del mod replST">
          <ac:chgData name="Brito Cortés, Sofía Constanza" userId="bc780694-5ad3-4b43-9d08-68ceeeeb3a92" providerId="ADAL" clId="{78668647-0E4E-4D51-9C0E-13926B4FF229}" dt="2023-07-13T14:36:07.658" v="1779"/>
          <ac:spMkLst>
            <pc:docMk/>
            <pc:sldMk cId="822483613" sldId="538"/>
            <ac:spMk id="10" creationId="{8EBDBA09-EDD8-FFE9-5AB1-157BBCC9C430}"/>
          </ac:spMkLst>
        </pc:spChg>
        <pc:spChg chg="mod">
          <ac:chgData name="Brito Cortés, Sofía Constanza" userId="bc780694-5ad3-4b43-9d08-68ceeeeb3a92" providerId="ADAL" clId="{78668647-0E4E-4D51-9C0E-13926B4FF229}" dt="2023-07-13T14:49:02.405" v="5042"/>
          <ac:spMkLst>
            <pc:docMk/>
            <pc:sldMk cId="822483613" sldId="538"/>
            <ac:spMk id="11" creationId="{00000000-0000-0000-0000-000000000000}"/>
          </ac:spMkLst>
        </pc:spChg>
        <pc:spChg chg="mod">
          <ac:chgData name="Brito Cortés, Sofía Constanza" userId="bc780694-5ad3-4b43-9d08-68ceeeeb3a92" providerId="ADAL" clId="{78668647-0E4E-4D51-9C0E-13926B4FF229}" dt="2023-07-13T14:49:02.406" v="5043"/>
          <ac:spMkLst>
            <pc:docMk/>
            <pc:sldMk cId="822483613" sldId="538"/>
            <ac:spMk id="12" creationId="{00000000-0000-0000-0000-000000000000}"/>
          </ac:spMkLst>
        </pc:spChg>
        <pc:spChg chg="mod">
          <ac:chgData name="Brito Cortés, Sofía Constanza" userId="bc780694-5ad3-4b43-9d08-68ceeeeb3a92" providerId="ADAL" clId="{78668647-0E4E-4D51-9C0E-13926B4FF229}" dt="2023-07-13T14:49:02.407" v="5044"/>
          <ac:spMkLst>
            <pc:docMk/>
            <pc:sldMk cId="822483613" sldId="538"/>
            <ac:spMk id="13" creationId="{00000000-0000-0000-0000-000000000000}"/>
          </ac:spMkLst>
        </pc:spChg>
        <pc:spChg chg="add del mod replST">
          <ac:chgData name="Brito Cortés, Sofía Constanza" userId="bc780694-5ad3-4b43-9d08-68ceeeeb3a92" providerId="ADAL" clId="{78668647-0E4E-4D51-9C0E-13926B4FF229}" dt="2023-07-13T14:36:07.731" v="1838"/>
          <ac:spMkLst>
            <pc:docMk/>
            <pc:sldMk cId="822483613" sldId="538"/>
            <ac:spMk id="14" creationId="{8EBDBA09-EDD8-FFE9-5AB1-157BBCC9C430}"/>
          </ac:spMkLst>
        </pc:spChg>
        <pc:spChg chg="add del mod replST">
          <ac:chgData name="Brito Cortés, Sofía Constanza" userId="bc780694-5ad3-4b43-9d08-68ceeeeb3a92" providerId="ADAL" clId="{78668647-0E4E-4D51-9C0E-13926B4FF229}" dt="2023-07-13T14:36:07.804" v="1900"/>
          <ac:spMkLst>
            <pc:docMk/>
            <pc:sldMk cId="822483613" sldId="538"/>
            <ac:spMk id="15" creationId="{8EBDBA09-EDD8-FFE9-5AB1-157BBCC9C430}"/>
          </ac:spMkLst>
        </pc:spChg>
        <pc:spChg chg="add del mod replST">
          <ac:chgData name="Brito Cortés, Sofía Constanza" userId="bc780694-5ad3-4b43-9d08-68ceeeeb3a92" providerId="ADAL" clId="{78668647-0E4E-4D51-9C0E-13926B4FF229}" dt="2023-07-13T14:36:07.955" v="2043"/>
          <ac:spMkLst>
            <pc:docMk/>
            <pc:sldMk cId="822483613" sldId="538"/>
            <ac:spMk id="17" creationId="{8EBDBA09-EDD8-FFE9-5AB1-157BBCC9C430}"/>
          </ac:spMkLst>
        </pc:spChg>
        <pc:spChg chg="add del mod replST">
          <ac:chgData name="Brito Cortés, Sofía Constanza" userId="bc780694-5ad3-4b43-9d08-68ceeeeb3a92" providerId="ADAL" clId="{78668647-0E4E-4D51-9C0E-13926B4FF229}" dt="2023-07-13T14:36:08.036" v="2105"/>
          <ac:spMkLst>
            <pc:docMk/>
            <pc:sldMk cId="822483613" sldId="538"/>
            <ac:spMk id="19" creationId="{8EBDBA09-EDD8-FFE9-5AB1-157BBCC9C430}"/>
          </ac:spMkLst>
        </pc:spChg>
        <pc:spChg chg="add del mod replST">
          <ac:chgData name="Brito Cortés, Sofía Constanza" userId="bc780694-5ad3-4b43-9d08-68ceeeeb3a92" providerId="ADAL" clId="{78668647-0E4E-4D51-9C0E-13926B4FF229}" dt="2023-07-13T14:36:08.102" v="2164"/>
          <ac:spMkLst>
            <pc:docMk/>
            <pc:sldMk cId="822483613" sldId="538"/>
            <ac:spMk id="20" creationId="{8EBDBA09-EDD8-FFE9-5AB1-157BBCC9C430}"/>
          </ac:spMkLst>
        </pc:spChg>
        <pc:spChg chg="add del mod replST">
          <ac:chgData name="Brito Cortés, Sofía Constanza" userId="bc780694-5ad3-4b43-9d08-68ceeeeb3a92" providerId="ADAL" clId="{78668647-0E4E-4D51-9C0E-13926B4FF229}" dt="2023-07-13T14:36:08.177" v="2226"/>
          <ac:spMkLst>
            <pc:docMk/>
            <pc:sldMk cId="822483613" sldId="538"/>
            <ac:spMk id="21" creationId="{8EBDBA09-EDD8-FFE9-5AB1-157BBCC9C430}"/>
          </ac:spMkLst>
        </pc:spChg>
        <pc:spChg chg="add del mod replST">
          <ac:chgData name="Brito Cortés, Sofía Constanza" userId="bc780694-5ad3-4b43-9d08-68ceeeeb3a92" providerId="ADAL" clId="{78668647-0E4E-4D51-9C0E-13926B4FF229}" dt="2023-07-13T14:36:08.245" v="2285"/>
          <ac:spMkLst>
            <pc:docMk/>
            <pc:sldMk cId="822483613" sldId="538"/>
            <ac:spMk id="22" creationId="{8EBDBA09-EDD8-FFE9-5AB1-157BBCC9C430}"/>
          </ac:spMkLst>
        </pc:spChg>
        <pc:spChg chg="add del mod replST">
          <ac:chgData name="Brito Cortés, Sofía Constanza" userId="bc780694-5ad3-4b43-9d08-68ceeeeb3a92" providerId="ADAL" clId="{78668647-0E4E-4D51-9C0E-13926B4FF229}" dt="2023-07-13T14:36:08.328" v="2347"/>
          <ac:spMkLst>
            <pc:docMk/>
            <pc:sldMk cId="822483613" sldId="538"/>
            <ac:spMk id="23" creationId="{8EBDBA09-EDD8-FFE9-5AB1-157BBCC9C430}"/>
          </ac:spMkLst>
        </pc:spChg>
        <pc:spChg chg="add del mod replST">
          <ac:chgData name="Brito Cortés, Sofía Constanza" userId="bc780694-5ad3-4b43-9d08-68ceeeeb3a92" providerId="ADAL" clId="{78668647-0E4E-4D51-9C0E-13926B4FF229}" dt="2023-07-13T14:36:08.400" v="2406"/>
          <ac:spMkLst>
            <pc:docMk/>
            <pc:sldMk cId="822483613" sldId="538"/>
            <ac:spMk id="24" creationId="{8EBDBA09-EDD8-FFE9-5AB1-157BBCC9C430}"/>
          </ac:spMkLst>
        </pc:spChg>
        <pc:spChg chg="add del mod replST">
          <ac:chgData name="Brito Cortés, Sofía Constanza" userId="bc780694-5ad3-4b43-9d08-68ceeeeb3a92" providerId="ADAL" clId="{78668647-0E4E-4D51-9C0E-13926B4FF229}" dt="2023-07-13T14:36:08.487" v="2468"/>
          <ac:spMkLst>
            <pc:docMk/>
            <pc:sldMk cId="822483613" sldId="538"/>
            <ac:spMk id="25" creationId="{8EBDBA09-EDD8-FFE9-5AB1-157BBCC9C430}"/>
          </ac:spMkLst>
        </pc:spChg>
        <pc:spChg chg="add del mod">
          <ac:chgData name="Brito Cortés, Sofía Constanza" userId="bc780694-5ad3-4b43-9d08-68ceeeeb3a92" providerId="ADAL" clId="{78668647-0E4E-4D51-9C0E-13926B4FF229}" dt="2023-07-13T15:42:54.605" v="5548" actId="478"/>
          <ac:spMkLst>
            <pc:docMk/>
            <pc:sldMk cId="822483613" sldId="538"/>
            <ac:spMk id="28" creationId="{66656BAC-09AE-377C-8AA6-534AF9B479E6}"/>
          </ac:spMkLst>
        </pc:spChg>
        <pc:spChg chg="mod">
          <ac:chgData name="Brito Cortés, Sofía Constanza" userId="bc780694-5ad3-4b43-9d08-68ceeeeb3a92" providerId="ADAL" clId="{78668647-0E4E-4D51-9C0E-13926B4FF229}" dt="2023-07-13T14:49:02.401" v="5031"/>
          <ac:spMkLst>
            <pc:docMk/>
            <pc:sldMk cId="822483613" sldId="538"/>
            <ac:spMk id="58" creationId="{00000000-0000-0000-0000-000000000000}"/>
          </ac:spMkLst>
        </pc:spChg>
        <pc:spChg chg="mod ord">
          <ac:chgData name="Brito Cortés, Sofía Constanza" userId="bc780694-5ad3-4b43-9d08-68ceeeeb3a92" providerId="ADAL" clId="{78668647-0E4E-4D51-9C0E-13926B4FF229}" dt="2023-07-13T14:49:02.401" v="5030"/>
          <ac:spMkLst>
            <pc:docMk/>
            <pc:sldMk cId="822483613" sldId="538"/>
            <ac:spMk id="59" creationId="{00000000-0000-0000-0000-000000000000}"/>
          </ac:spMkLst>
        </pc:spChg>
        <pc:spChg chg="mod ord">
          <ac:chgData name="Brito Cortés, Sofía Constanza" userId="bc780694-5ad3-4b43-9d08-68ceeeeb3a92" providerId="ADAL" clId="{78668647-0E4E-4D51-9C0E-13926B4FF229}" dt="2023-07-13T14:49:02.402" v="5033"/>
          <ac:spMkLst>
            <pc:docMk/>
            <pc:sldMk cId="822483613" sldId="538"/>
            <ac:spMk id="60" creationId="{00000000-0000-0000-0000-000000000000}"/>
          </ac:spMkLst>
        </pc:spChg>
        <pc:spChg chg="mod">
          <ac:chgData name="Brito Cortés, Sofía Constanza" userId="bc780694-5ad3-4b43-9d08-68ceeeeb3a92" providerId="ADAL" clId="{78668647-0E4E-4D51-9C0E-13926B4FF229}" dt="2023-07-13T14:49:02.403" v="5035"/>
          <ac:spMkLst>
            <pc:docMk/>
            <pc:sldMk cId="822483613" sldId="538"/>
            <ac:spMk id="61" creationId="{00000000-0000-0000-0000-000000000000}"/>
          </ac:spMkLst>
        </pc:spChg>
        <pc:spChg chg="mod">
          <ac:chgData name="Brito Cortés, Sofía Constanza" userId="bc780694-5ad3-4b43-9d08-68ceeeeb3a92" providerId="ADAL" clId="{78668647-0E4E-4D51-9C0E-13926B4FF229}" dt="2023-07-13T14:49:02.400" v="5027"/>
          <ac:spMkLst>
            <pc:docMk/>
            <pc:sldMk cId="822483613" sldId="538"/>
            <ac:spMk id="62" creationId="{00000000-0000-0000-0000-000000000000}"/>
          </ac:spMkLst>
        </pc:spChg>
        <pc:spChg chg="mod ord">
          <ac:chgData name="Brito Cortés, Sofía Constanza" userId="bc780694-5ad3-4b43-9d08-68ceeeeb3a92" providerId="ADAL" clId="{78668647-0E4E-4D51-9C0E-13926B4FF229}" dt="2023-07-13T14:49:02.399" v="5026"/>
          <ac:spMkLst>
            <pc:docMk/>
            <pc:sldMk cId="822483613" sldId="538"/>
            <ac:spMk id="63" creationId="{00000000-0000-0000-0000-000000000000}"/>
          </ac:spMkLst>
        </pc:spChg>
        <pc:spChg chg="mod">
          <ac:chgData name="Brito Cortés, Sofía Constanza" userId="bc780694-5ad3-4b43-9d08-68ceeeeb3a92" providerId="ADAL" clId="{78668647-0E4E-4D51-9C0E-13926B4FF229}" dt="2023-07-13T14:49:02.400" v="5028"/>
          <ac:spMkLst>
            <pc:docMk/>
            <pc:sldMk cId="822483613" sldId="538"/>
            <ac:spMk id="64" creationId="{00000000-0000-0000-0000-000000000000}"/>
          </ac:spMkLst>
        </pc:spChg>
        <pc:spChg chg="mod">
          <ac:chgData name="Brito Cortés, Sofía Constanza" userId="bc780694-5ad3-4b43-9d08-68ceeeeb3a92" providerId="ADAL" clId="{78668647-0E4E-4D51-9C0E-13926B4FF229}" dt="2023-07-13T14:49:02.403" v="5036"/>
          <ac:spMkLst>
            <pc:docMk/>
            <pc:sldMk cId="822483613" sldId="538"/>
            <ac:spMk id="65" creationId="{00000000-0000-0000-0000-000000000000}"/>
          </ac:spMkLst>
        </pc:spChg>
        <pc:spChg chg="mod ord">
          <ac:chgData name="Brito Cortés, Sofía Constanza" userId="bc780694-5ad3-4b43-9d08-68ceeeeb3a92" providerId="ADAL" clId="{78668647-0E4E-4D51-9C0E-13926B4FF229}" dt="2023-07-13T14:49:02.404" v="5038"/>
          <ac:spMkLst>
            <pc:docMk/>
            <pc:sldMk cId="822483613" sldId="538"/>
            <ac:spMk id="66" creationId="{00000000-0000-0000-0000-000000000000}"/>
          </ac:spMkLst>
        </pc:spChg>
        <pc:spChg chg="mod">
          <ac:chgData name="Brito Cortés, Sofía Constanza" userId="bc780694-5ad3-4b43-9d08-68ceeeeb3a92" providerId="ADAL" clId="{78668647-0E4E-4D51-9C0E-13926B4FF229}" dt="2023-07-13T14:49:02.405" v="5039"/>
          <ac:spMkLst>
            <pc:docMk/>
            <pc:sldMk cId="822483613" sldId="538"/>
            <ac:spMk id="67" creationId="{00000000-0000-0000-0000-000000000000}"/>
          </ac:spMkLst>
        </pc:spChg>
        <pc:spChg chg="mod">
          <ac:chgData name="Brito Cortés, Sofía Constanza" userId="bc780694-5ad3-4b43-9d08-68ceeeeb3a92" providerId="ADAL" clId="{78668647-0E4E-4D51-9C0E-13926B4FF229}" dt="2023-07-13T14:49:02.402" v="5034"/>
          <ac:spMkLst>
            <pc:docMk/>
            <pc:sldMk cId="822483613" sldId="538"/>
            <ac:spMk id="68" creationId="{00000000-0000-0000-0000-000000000000}"/>
          </ac:spMkLst>
        </pc:spChg>
        <pc:spChg chg="mod ord">
          <ac:chgData name="Brito Cortés, Sofía Constanza" userId="bc780694-5ad3-4b43-9d08-68ceeeeb3a92" providerId="ADAL" clId="{78668647-0E4E-4D51-9C0E-13926B4FF229}" dt="2023-07-13T14:49:02.405" v="5041"/>
          <ac:spMkLst>
            <pc:docMk/>
            <pc:sldMk cId="822483613" sldId="538"/>
            <ac:spMk id="69" creationId="{00000000-0000-0000-0000-000000000000}"/>
          </ac:spMkLst>
        </pc:spChg>
        <pc:spChg chg="mod">
          <ac:chgData name="Brito Cortés, Sofía Constanza" userId="bc780694-5ad3-4b43-9d08-68ceeeeb3a92" providerId="ADAL" clId="{78668647-0E4E-4D51-9C0E-13926B4FF229}" dt="2023-07-13T14:49:02.408" v="5047"/>
          <ac:spMkLst>
            <pc:docMk/>
            <pc:sldMk cId="822483613" sldId="538"/>
            <ac:spMk id="81" creationId="{00000000-0000-0000-0000-000000000000}"/>
          </ac:spMkLst>
        </pc:spChg>
        <pc:spChg chg="mod">
          <ac:chgData name="Brito Cortés, Sofía Constanza" userId="bc780694-5ad3-4b43-9d08-68ceeeeb3a92" providerId="ADAL" clId="{78668647-0E4E-4D51-9C0E-13926B4FF229}" dt="2023-07-13T14:49:02.415" v="5060"/>
          <ac:spMkLst>
            <pc:docMk/>
            <pc:sldMk cId="822483613" sldId="538"/>
            <ac:spMk id="83" creationId="{00000000-0000-0000-0000-000000000000}"/>
          </ac:spMkLst>
        </pc:spChg>
        <pc:spChg chg="mod">
          <ac:chgData name="Brito Cortés, Sofía Constanza" userId="bc780694-5ad3-4b43-9d08-68ceeeeb3a92" providerId="ADAL" clId="{78668647-0E4E-4D51-9C0E-13926B4FF229}" dt="2023-07-13T14:49:02.413" v="5056"/>
          <ac:spMkLst>
            <pc:docMk/>
            <pc:sldMk cId="822483613" sldId="538"/>
            <ac:spMk id="85" creationId="{00000000-0000-0000-0000-000000000000}"/>
          </ac:spMkLst>
        </pc:spChg>
        <pc:spChg chg="mod">
          <ac:chgData name="Brito Cortés, Sofía Constanza" userId="bc780694-5ad3-4b43-9d08-68ceeeeb3a92" providerId="ADAL" clId="{78668647-0E4E-4D51-9C0E-13926B4FF229}" dt="2023-07-13T14:49:02.408" v="5046"/>
          <ac:spMkLst>
            <pc:docMk/>
            <pc:sldMk cId="822483613" sldId="538"/>
            <ac:spMk id="86" creationId="{00000000-0000-0000-0000-000000000000}"/>
          </ac:spMkLst>
        </pc:spChg>
        <pc:spChg chg="mod">
          <ac:chgData name="Brito Cortés, Sofía Constanza" userId="bc780694-5ad3-4b43-9d08-68ceeeeb3a92" providerId="ADAL" clId="{78668647-0E4E-4D51-9C0E-13926B4FF229}" dt="2023-07-13T14:49:02.415" v="5059"/>
          <ac:spMkLst>
            <pc:docMk/>
            <pc:sldMk cId="822483613" sldId="538"/>
            <ac:spMk id="87" creationId="{00000000-0000-0000-0000-000000000000}"/>
          </ac:spMkLst>
        </pc:spChg>
        <pc:spChg chg="mod">
          <ac:chgData name="Brito Cortés, Sofía Constanza" userId="bc780694-5ad3-4b43-9d08-68ceeeeb3a92" providerId="ADAL" clId="{78668647-0E4E-4D51-9C0E-13926B4FF229}" dt="2023-07-13T14:49:02.409" v="5048"/>
          <ac:spMkLst>
            <pc:docMk/>
            <pc:sldMk cId="822483613" sldId="538"/>
            <ac:spMk id="91" creationId="{00000000-0000-0000-0000-000000000000}"/>
          </ac:spMkLst>
        </pc:spChg>
        <pc:spChg chg="mod">
          <ac:chgData name="Brito Cortés, Sofía Constanza" userId="bc780694-5ad3-4b43-9d08-68ceeeeb3a92" providerId="ADAL" clId="{78668647-0E4E-4D51-9C0E-13926B4FF229}" dt="2023-07-13T14:49:02.410" v="5051"/>
          <ac:spMkLst>
            <pc:docMk/>
            <pc:sldMk cId="822483613" sldId="538"/>
            <ac:spMk id="92" creationId="{00000000-0000-0000-0000-000000000000}"/>
          </ac:spMkLst>
        </pc:spChg>
        <pc:spChg chg="mod">
          <ac:chgData name="Brito Cortés, Sofía Constanza" userId="bc780694-5ad3-4b43-9d08-68ceeeeb3a92" providerId="ADAL" clId="{78668647-0E4E-4D51-9C0E-13926B4FF229}" dt="2023-07-13T14:49:02.409" v="5049"/>
          <ac:spMkLst>
            <pc:docMk/>
            <pc:sldMk cId="822483613" sldId="538"/>
            <ac:spMk id="93" creationId="{00000000-0000-0000-0000-000000000000}"/>
          </ac:spMkLst>
        </pc:spChg>
        <pc:spChg chg="mod">
          <ac:chgData name="Brito Cortés, Sofía Constanza" userId="bc780694-5ad3-4b43-9d08-68ceeeeb3a92" providerId="ADAL" clId="{78668647-0E4E-4D51-9C0E-13926B4FF229}" dt="2023-07-13T14:49:02.411" v="5052"/>
          <ac:spMkLst>
            <pc:docMk/>
            <pc:sldMk cId="822483613" sldId="538"/>
            <ac:spMk id="94" creationId="{00000000-0000-0000-0000-000000000000}"/>
          </ac:spMkLst>
        </pc:spChg>
        <pc:spChg chg="mod">
          <ac:chgData name="Brito Cortés, Sofía Constanza" userId="bc780694-5ad3-4b43-9d08-68ceeeeb3a92" providerId="ADAL" clId="{78668647-0E4E-4D51-9C0E-13926B4FF229}" dt="2023-07-13T14:49:02.411" v="5053"/>
          <ac:spMkLst>
            <pc:docMk/>
            <pc:sldMk cId="822483613" sldId="538"/>
            <ac:spMk id="95" creationId="{00000000-0000-0000-0000-000000000000}"/>
          </ac:spMkLst>
        </pc:spChg>
        <pc:spChg chg="mod">
          <ac:chgData name="Brito Cortés, Sofía Constanza" userId="bc780694-5ad3-4b43-9d08-68ceeeeb3a92" providerId="ADAL" clId="{78668647-0E4E-4D51-9C0E-13926B4FF229}" dt="2023-07-13T14:49:02.410" v="5050"/>
          <ac:spMkLst>
            <pc:docMk/>
            <pc:sldMk cId="822483613" sldId="538"/>
            <ac:spMk id="96" creationId="{00000000-0000-0000-0000-000000000000}"/>
          </ac:spMkLst>
        </pc:spChg>
        <pc:spChg chg="mod">
          <ac:chgData name="Brito Cortés, Sofía Constanza" userId="bc780694-5ad3-4b43-9d08-68ceeeeb3a92" providerId="ADAL" clId="{78668647-0E4E-4D51-9C0E-13926B4FF229}" dt="2023-07-13T14:49:02.412" v="5054"/>
          <ac:spMkLst>
            <pc:docMk/>
            <pc:sldMk cId="822483613" sldId="538"/>
            <ac:spMk id="97" creationId="{00000000-0000-0000-0000-000000000000}"/>
          </ac:spMkLst>
        </pc:spChg>
        <pc:spChg chg="mod">
          <ac:chgData name="Brito Cortés, Sofía Constanza" userId="bc780694-5ad3-4b43-9d08-68ceeeeb3a92" providerId="ADAL" clId="{78668647-0E4E-4D51-9C0E-13926B4FF229}" dt="2023-07-13T14:49:02.412" v="5055"/>
          <ac:spMkLst>
            <pc:docMk/>
            <pc:sldMk cId="822483613" sldId="538"/>
            <ac:spMk id="98" creationId="{00000000-0000-0000-0000-000000000000}"/>
          </ac:spMkLst>
        </pc:spChg>
        <pc:spChg chg="mod">
          <ac:chgData name="Brito Cortés, Sofía Constanza" userId="bc780694-5ad3-4b43-9d08-68ceeeeb3a92" providerId="ADAL" clId="{78668647-0E4E-4D51-9C0E-13926B4FF229}" dt="2023-07-13T14:49:02.414" v="5057"/>
          <ac:spMkLst>
            <pc:docMk/>
            <pc:sldMk cId="822483613" sldId="538"/>
            <ac:spMk id="99" creationId="{00000000-0000-0000-0000-000000000000}"/>
          </ac:spMkLst>
        </pc:spChg>
        <pc:spChg chg="mod">
          <ac:chgData name="Brito Cortés, Sofía Constanza" userId="bc780694-5ad3-4b43-9d08-68ceeeeb3a92" providerId="ADAL" clId="{78668647-0E4E-4D51-9C0E-13926B4FF229}" dt="2023-07-13T14:49:02.414" v="5058"/>
          <ac:spMkLst>
            <pc:docMk/>
            <pc:sldMk cId="822483613" sldId="538"/>
            <ac:spMk id="100" creationId="{00000000-0000-0000-0000-000000000000}"/>
          </ac:spMkLst>
        </pc:spChg>
        <pc:spChg chg="mod ord">
          <ac:chgData name="Brito Cortés, Sofía Constanza" userId="bc780694-5ad3-4b43-9d08-68ceeeeb3a92" providerId="ADAL" clId="{78668647-0E4E-4D51-9C0E-13926B4FF229}" dt="2023-07-13T14:49:02.420" v="5070"/>
          <ac:spMkLst>
            <pc:docMk/>
            <pc:sldMk cId="822483613" sldId="538"/>
            <ac:spMk id="104" creationId="{00000000-0000-0000-0000-000000000000}"/>
          </ac:spMkLst>
        </pc:spChg>
        <pc:spChg chg="mod ord">
          <ac:chgData name="Brito Cortés, Sofía Constanza" userId="bc780694-5ad3-4b43-9d08-68ceeeeb3a92" providerId="ADAL" clId="{78668647-0E4E-4D51-9C0E-13926B4FF229}" dt="2023-07-13T14:49:02.416" v="5062"/>
          <ac:spMkLst>
            <pc:docMk/>
            <pc:sldMk cId="822483613" sldId="538"/>
            <ac:spMk id="369" creationId="{00000000-0000-0000-0000-000000000000}"/>
          </ac:spMkLst>
        </pc:spChg>
        <pc:spChg chg="mod ord">
          <ac:chgData name="Brito Cortés, Sofía Constanza" userId="bc780694-5ad3-4b43-9d08-68ceeeeb3a92" providerId="ADAL" clId="{78668647-0E4E-4D51-9C0E-13926B4FF229}" dt="2023-07-13T14:49:02.418" v="5066"/>
          <ac:spMkLst>
            <pc:docMk/>
            <pc:sldMk cId="822483613" sldId="538"/>
            <ac:spMk id="377" creationId="{00000000-0000-0000-0000-000000000000}"/>
          </ac:spMkLst>
        </pc:spChg>
        <pc:graphicFrameChg chg="add del mod replST">
          <ac:chgData name="Brito Cortés, Sofía Constanza" userId="bc780694-5ad3-4b43-9d08-68ceeeeb3a92" providerId="ADAL" clId="{78668647-0E4E-4D51-9C0E-13926B4FF229}" dt="2023-07-13T14:47:22.543" v="3891"/>
          <ac:graphicFrameMkLst>
            <pc:docMk/>
            <pc:sldMk cId="822483613" sldId="538"/>
            <ac:graphicFrameMk id="4" creationId="{A1FA6723-3FA5-639D-B70B-FECF1F41B150}"/>
          </ac:graphicFrameMkLst>
        </pc:graphicFrameChg>
        <pc:graphicFrameChg chg="add del mod replST">
          <ac:chgData name="Brito Cortés, Sofía Constanza" userId="bc780694-5ad3-4b43-9d08-68ceeeeb3a92" providerId="ADAL" clId="{78668647-0E4E-4D51-9C0E-13926B4FF229}" dt="2023-07-13T14:48:24.206" v="4451"/>
          <ac:graphicFrameMkLst>
            <pc:docMk/>
            <pc:sldMk cId="822483613" sldId="538"/>
            <ac:graphicFrameMk id="5" creationId="{D04E7231-FC5F-E030-EE90-27DB6DEBD9D8}"/>
          </ac:graphicFrameMkLst>
        </pc:graphicFrameChg>
        <pc:graphicFrameChg chg="add del mod replST">
          <ac:chgData name="Brito Cortés, Sofía Constanza" userId="bc780694-5ad3-4b43-9d08-68ceeeeb3a92" providerId="ADAL" clId="{78668647-0E4E-4D51-9C0E-13926B4FF229}" dt="2023-07-13T14:47:30.595" v="3971"/>
          <ac:graphicFrameMkLst>
            <pc:docMk/>
            <pc:sldMk cId="822483613" sldId="538"/>
            <ac:graphicFrameMk id="7" creationId="{7EF4D08E-2BAE-49E4-DA80-B1867205BC1F}"/>
          </ac:graphicFrameMkLst>
        </pc:graphicFrameChg>
        <pc:graphicFrameChg chg="add del mod replST">
          <ac:chgData name="Brito Cortés, Sofía Constanza" userId="bc780694-5ad3-4b43-9d08-68ceeeeb3a92" providerId="ADAL" clId="{78668647-0E4E-4D51-9C0E-13926B4FF229}" dt="2023-07-13T14:47:38.352" v="4051"/>
          <ac:graphicFrameMkLst>
            <pc:docMk/>
            <pc:sldMk cId="822483613" sldId="538"/>
            <ac:graphicFrameMk id="8" creationId="{8253846C-88D5-BC8A-BA9A-4A075D492613}"/>
          </ac:graphicFrameMkLst>
        </pc:graphicFrameChg>
        <pc:graphicFrameChg chg="add del mod replST">
          <ac:chgData name="Brito Cortés, Sofía Constanza" userId="bc780694-5ad3-4b43-9d08-68ceeeeb3a92" providerId="ADAL" clId="{78668647-0E4E-4D51-9C0E-13926B4FF229}" dt="2023-07-13T14:47:50.110" v="4131"/>
          <ac:graphicFrameMkLst>
            <pc:docMk/>
            <pc:sldMk cId="822483613" sldId="538"/>
            <ac:graphicFrameMk id="9" creationId="{CB4C7AC7-31FC-3FF0-1B9C-6A748D9C6E19}"/>
          </ac:graphicFrameMkLst>
        </pc:graphicFrameChg>
        <pc:graphicFrameChg chg="add del mod replST">
          <ac:chgData name="Brito Cortés, Sofía Constanza" userId="bc780694-5ad3-4b43-9d08-68ceeeeb3a92" providerId="ADAL" clId="{78668647-0E4E-4D51-9C0E-13926B4FF229}" dt="2023-07-13T14:47:58.177" v="4211"/>
          <ac:graphicFrameMkLst>
            <pc:docMk/>
            <pc:sldMk cId="822483613" sldId="538"/>
            <ac:graphicFrameMk id="10" creationId="{0D0E3207-09F7-461E-EFF2-57B969A128D1}"/>
          </ac:graphicFrameMkLst>
        </pc:graphicFrameChg>
        <pc:graphicFrameChg chg="add del mod replST">
          <ac:chgData name="Brito Cortés, Sofía Constanza" userId="bc780694-5ad3-4b43-9d08-68ceeeeb3a92" providerId="ADAL" clId="{78668647-0E4E-4D51-9C0E-13926B4FF229}" dt="2023-07-13T14:48:05.932" v="4291"/>
          <ac:graphicFrameMkLst>
            <pc:docMk/>
            <pc:sldMk cId="822483613" sldId="538"/>
            <ac:graphicFrameMk id="14" creationId="{72328C6A-1FCE-225B-DD16-6C90458D6600}"/>
          </ac:graphicFrameMkLst>
        </pc:graphicFrameChg>
        <pc:graphicFrameChg chg="add del mod replST">
          <ac:chgData name="Brito Cortés, Sofía Constanza" userId="bc780694-5ad3-4b43-9d08-68ceeeeb3a92" providerId="ADAL" clId="{78668647-0E4E-4D51-9C0E-13926B4FF229}" dt="2023-07-13T14:48:14.295" v="4371"/>
          <ac:graphicFrameMkLst>
            <pc:docMk/>
            <pc:sldMk cId="822483613" sldId="538"/>
            <ac:graphicFrameMk id="15" creationId="{02FB3711-B37A-969B-7890-4853B1A900B8}"/>
          </ac:graphicFrameMkLst>
        </pc:graphicFrameChg>
        <pc:graphicFrameChg chg="add del mod replST">
          <ac:chgData name="Brito Cortés, Sofía Constanza" userId="bc780694-5ad3-4b43-9d08-68ceeeeb3a92" providerId="ADAL" clId="{78668647-0E4E-4D51-9C0E-13926B4FF229}" dt="2023-07-13T14:47:08.760" v="3786"/>
          <ac:graphicFrameMkLst>
            <pc:docMk/>
            <pc:sldMk cId="822483613" sldId="538"/>
            <ac:graphicFrameMk id="16" creationId="{2D35AB6A-5568-BCB2-C5DA-A9744A3CB7A1}"/>
          </ac:graphicFrameMkLst>
        </pc:graphicFrameChg>
        <pc:graphicFrameChg chg="add mod replST">
          <ac:chgData name="Brito Cortés, Sofía Constanza" userId="bc780694-5ad3-4b43-9d08-68ceeeeb3a92" providerId="ADAL" clId="{78668647-0E4E-4D51-9C0E-13926B4FF229}" dt="2023-07-13T14:49:02.399" v="5024"/>
          <ac:graphicFrameMkLst>
            <pc:docMk/>
            <pc:sldMk cId="822483613" sldId="538"/>
            <ac:graphicFrameMk id="17" creationId="{D83A61AB-CF08-8521-FB51-DC3C0B30CFCB}"/>
          </ac:graphicFrameMkLst>
        </pc:graphicFrameChg>
        <pc:graphicFrameChg chg="mod">
          <ac:chgData name="Brito Cortés, Sofía Constanza" userId="bc780694-5ad3-4b43-9d08-68ceeeeb3a92" providerId="ADAL" clId="{78668647-0E4E-4D51-9C0E-13926B4FF229}" dt="2023-07-13T14:49:02.427" v="5074"/>
          <ac:graphicFrameMkLst>
            <pc:docMk/>
            <pc:sldMk cId="822483613" sldId="538"/>
            <ac:graphicFrameMk id="18" creationId="{00000000-0000-0000-0000-000000000000}"/>
          </ac:graphicFrameMkLst>
        </pc:graphicFrameChg>
        <pc:graphicFrameChg chg="add del mod replST">
          <ac:chgData name="Brito Cortés, Sofía Constanza" userId="bc780694-5ad3-4b43-9d08-68ceeeeb3a92" providerId="ADAL" clId="{78668647-0E4E-4D51-9C0E-13926B4FF229}" dt="2023-07-13T14:48:29.539" v="4531"/>
          <ac:graphicFrameMkLst>
            <pc:docMk/>
            <pc:sldMk cId="822483613" sldId="538"/>
            <ac:graphicFrameMk id="19" creationId="{592DA2E5-64A4-8954-5CA0-DAE373C9CA99}"/>
          </ac:graphicFrameMkLst>
        </pc:graphicFrameChg>
        <pc:graphicFrameChg chg="add del mod replST">
          <ac:chgData name="Brito Cortés, Sofía Constanza" userId="bc780694-5ad3-4b43-9d08-68ceeeeb3a92" providerId="ADAL" clId="{78668647-0E4E-4D51-9C0E-13926B4FF229}" dt="2023-07-13T14:48:34.524" v="4611"/>
          <ac:graphicFrameMkLst>
            <pc:docMk/>
            <pc:sldMk cId="822483613" sldId="538"/>
            <ac:graphicFrameMk id="20" creationId="{FBEA46A4-9A4E-1324-625F-7E1C2F683942}"/>
          </ac:graphicFrameMkLst>
        </pc:graphicFrameChg>
        <pc:graphicFrameChg chg="add del mod replST">
          <ac:chgData name="Brito Cortés, Sofía Constanza" userId="bc780694-5ad3-4b43-9d08-68ceeeeb3a92" providerId="ADAL" clId="{78668647-0E4E-4D51-9C0E-13926B4FF229}" dt="2023-07-13T14:48:38.881" v="4691"/>
          <ac:graphicFrameMkLst>
            <pc:docMk/>
            <pc:sldMk cId="822483613" sldId="538"/>
            <ac:graphicFrameMk id="21" creationId="{86558BB5-3E05-2DFF-DF82-194F4FF3486C}"/>
          </ac:graphicFrameMkLst>
        </pc:graphicFrameChg>
        <pc:graphicFrameChg chg="add del mod replST">
          <ac:chgData name="Brito Cortés, Sofía Constanza" userId="bc780694-5ad3-4b43-9d08-68ceeeeb3a92" providerId="ADAL" clId="{78668647-0E4E-4D51-9C0E-13926B4FF229}" dt="2023-07-13T14:48:46.054" v="4771"/>
          <ac:graphicFrameMkLst>
            <pc:docMk/>
            <pc:sldMk cId="822483613" sldId="538"/>
            <ac:graphicFrameMk id="22" creationId="{2C16AC10-8D7E-C362-B5A1-F61049D517B4}"/>
          </ac:graphicFrameMkLst>
        </pc:graphicFrameChg>
        <pc:graphicFrameChg chg="add del mod replST">
          <ac:chgData name="Brito Cortés, Sofía Constanza" userId="bc780694-5ad3-4b43-9d08-68ceeeeb3a92" providerId="ADAL" clId="{78668647-0E4E-4D51-9C0E-13926B4FF229}" dt="2023-07-13T14:48:51.245" v="4851"/>
          <ac:graphicFrameMkLst>
            <pc:docMk/>
            <pc:sldMk cId="822483613" sldId="538"/>
            <ac:graphicFrameMk id="23" creationId="{67D0774D-1394-3E1A-C556-F82AD737F450}"/>
          </ac:graphicFrameMkLst>
        </pc:graphicFrameChg>
        <pc:graphicFrameChg chg="add del mod replST">
          <ac:chgData name="Brito Cortés, Sofía Constanza" userId="bc780694-5ad3-4b43-9d08-68ceeeeb3a92" providerId="ADAL" clId="{78668647-0E4E-4D51-9C0E-13926B4FF229}" dt="2023-07-13T14:48:56.624" v="4931"/>
          <ac:graphicFrameMkLst>
            <pc:docMk/>
            <pc:sldMk cId="822483613" sldId="538"/>
            <ac:graphicFrameMk id="24" creationId="{FCA517D6-9004-29AC-2EE9-0CF073725069}"/>
          </ac:graphicFrameMkLst>
        </pc:graphicFrameChg>
        <pc:graphicFrameChg chg="add del mod replST">
          <ac:chgData name="Brito Cortés, Sofía Constanza" userId="bc780694-5ad3-4b43-9d08-68ceeeeb3a92" providerId="ADAL" clId="{78668647-0E4E-4D51-9C0E-13926B4FF229}" dt="2023-07-13T14:49:02.380" v="5011"/>
          <ac:graphicFrameMkLst>
            <pc:docMk/>
            <pc:sldMk cId="822483613" sldId="538"/>
            <ac:graphicFrameMk id="25" creationId="{3E548B76-1830-035A-FBB3-AD3D7E842A7D}"/>
          </ac:graphicFrameMkLst>
        </pc:graphicFrameChg>
        <pc:graphicFrameChg chg="add del mod replST">
          <ac:chgData name="Brito Cortés, Sofía Constanza" userId="bc780694-5ad3-4b43-9d08-68ceeeeb3a92" providerId="ADAL" clId="{78668647-0E4E-4D51-9C0E-13926B4FF229}" dt="2023-07-13T14:47:08.802" v="3809"/>
          <ac:graphicFrameMkLst>
            <pc:docMk/>
            <pc:sldMk cId="822483613" sldId="538"/>
            <ac:graphicFrameMk id="26" creationId="{2E85CE2E-155C-1163-46F6-6C243811F64D}"/>
          </ac:graphicFrameMkLst>
        </pc:graphicFrameChg>
        <pc:graphicFrameChg chg="add mod replST">
          <ac:chgData name="Brito Cortés, Sofía Constanza" userId="bc780694-5ad3-4b43-9d08-68ceeeeb3a92" providerId="ADAL" clId="{78668647-0E4E-4D51-9C0E-13926B4FF229}" dt="2023-07-13T14:49:02.407" v="5045"/>
          <ac:graphicFrameMkLst>
            <pc:docMk/>
            <pc:sldMk cId="822483613" sldId="538"/>
            <ac:graphicFrameMk id="27" creationId="{C8335773-61A7-3A02-943D-BFB79918E99D}"/>
          </ac:graphicFrameMkLst>
        </pc:graphicFrameChg>
        <pc:graphicFrameChg chg="del">
          <ac:chgData name="Brito Cortés, Sofía Constanza" userId="bc780694-5ad3-4b43-9d08-68ceeeeb3a92" providerId="ADAL" clId="{78668647-0E4E-4D51-9C0E-13926B4FF229}" dt="2023-07-13T14:36:07.860" v="1978"/>
          <ac:graphicFrameMkLst>
            <pc:docMk/>
            <pc:sldMk cId="822483613" sldId="538"/>
            <ac:graphicFrameMk id="70" creationId="{A46671E1-245D-4371-A579-0B1E75014C14}"/>
          </ac:graphicFrameMkLst>
        </pc:graphicFrameChg>
        <pc:graphicFrameChg chg="del">
          <ac:chgData name="Brito Cortés, Sofía Constanza" userId="bc780694-5ad3-4b43-9d08-68ceeeeb3a92" providerId="ADAL" clId="{78668647-0E4E-4D51-9C0E-13926B4FF229}" dt="2023-07-13T14:36:08.541" v="2527"/>
          <ac:graphicFrameMkLst>
            <pc:docMk/>
            <pc:sldMk cId="822483613" sldId="538"/>
            <ac:graphicFrameMk id="71" creationId="{8C9FB987-57F8-4EB0-9A01-C72CE6FBD08F}"/>
          </ac:graphicFrameMkLst>
        </pc:graphicFrameChg>
        <pc:cxnChg chg="mod ord">
          <ac:chgData name="Brito Cortés, Sofía Constanza" userId="bc780694-5ad3-4b43-9d08-68ceeeeb3a92" providerId="ADAL" clId="{78668647-0E4E-4D51-9C0E-13926B4FF229}" dt="2023-07-13T14:49:02.417" v="5064"/>
          <ac:cxnSpMkLst>
            <pc:docMk/>
            <pc:sldMk cId="822483613" sldId="538"/>
            <ac:cxnSpMk id="370" creationId="{00000000-0000-0000-0000-000000000000}"/>
          </ac:cxnSpMkLst>
        </pc:cxnChg>
        <pc:cxnChg chg="mod ord">
          <ac:chgData name="Brito Cortés, Sofía Constanza" userId="bc780694-5ad3-4b43-9d08-68ceeeeb3a92" providerId="ADAL" clId="{78668647-0E4E-4D51-9C0E-13926B4FF229}" dt="2023-07-13T14:49:02.419" v="5068"/>
          <ac:cxnSpMkLst>
            <pc:docMk/>
            <pc:sldMk cId="822483613" sldId="538"/>
            <ac:cxnSpMk id="378" creationId="{00000000-0000-0000-0000-000000000000}"/>
          </ac:cxnSpMkLst>
        </pc:cxnChg>
      </pc:sldChg>
      <pc:sldChg chg="delSp">
        <pc:chgData name="Brito Cortés, Sofía Constanza" userId="bc780694-5ad3-4b43-9d08-68ceeeeb3a92" providerId="ADAL" clId="{78668647-0E4E-4D51-9C0E-13926B4FF229}" dt="2023-07-13T15:44:17.838" v="5554"/>
        <pc:sldMkLst>
          <pc:docMk/>
          <pc:sldMk cId="4259841825" sldId="766"/>
        </pc:sldMkLst>
        <pc:spChg chg="del">
          <ac:chgData name="Brito Cortés, Sofía Constanza" userId="bc780694-5ad3-4b43-9d08-68ceeeeb3a92" providerId="ADAL" clId="{78668647-0E4E-4D51-9C0E-13926B4FF229}" dt="2023-07-13T15:44:17.838" v="5554"/>
          <ac:spMkLst>
            <pc:docMk/>
            <pc:sldMk cId="4259841825" sldId="766"/>
            <ac:spMk id="4" creationId="{57EA52D8-E332-CA12-1DC4-E3928B564ED2}"/>
          </ac:spMkLst>
        </pc:spChg>
      </pc:sldChg>
      <pc:sldChg chg="delSp">
        <pc:chgData name="Brito Cortés, Sofía Constanza" userId="bc780694-5ad3-4b43-9d08-68ceeeeb3a92" providerId="ADAL" clId="{78668647-0E4E-4D51-9C0E-13926B4FF229}" dt="2023-07-13T15:44:17.838" v="5554"/>
        <pc:sldMkLst>
          <pc:docMk/>
          <pc:sldMk cId="1124602753" sldId="1342"/>
        </pc:sldMkLst>
        <pc:spChg chg="del">
          <ac:chgData name="Brito Cortés, Sofía Constanza" userId="bc780694-5ad3-4b43-9d08-68ceeeeb3a92" providerId="ADAL" clId="{78668647-0E4E-4D51-9C0E-13926B4FF229}" dt="2023-07-13T15:44:17.838" v="5554"/>
          <ac:spMkLst>
            <pc:docMk/>
            <pc:sldMk cId="1124602753" sldId="1342"/>
            <ac:spMk id="2" creationId="{88F2E841-A33C-6A1A-E06E-3C94CF54E598}"/>
          </ac:spMkLst>
        </pc:spChg>
      </pc:sldChg>
      <pc:sldChg chg="delSp">
        <pc:chgData name="Brito Cortés, Sofía Constanza" userId="bc780694-5ad3-4b43-9d08-68ceeeeb3a92" providerId="ADAL" clId="{78668647-0E4E-4D51-9C0E-13926B4FF229}" dt="2023-07-13T15:44:17.838" v="5554"/>
        <pc:sldMkLst>
          <pc:docMk/>
          <pc:sldMk cId="3363089439" sldId="1343"/>
        </pc:sldMkLst>
        <pc:spChg chg="del">
          <ac:chgData name="Brito Cortés, Sofía Constanza" userId="bc780694-5ad3-4b43-9d08-68ceeeeb3a92" providerId="ADAL" clId="{78668647-0E4E-4D51-9C0E-13926B4FF229}" dt="2023-07-13T15:44:17.838" v="5554"/>
          <ac:spMkLst>
            <pc:docMk/>
            <pc:sldMk cId="3363089439" sldId="1343"/>
            <ac:spMk id="2" creationId="{B6A635EB-507C-5EAD-F5B9-B6CF2D6E7A85}"/>
          </ac:spMkLst>
        </pc:spChg>
      </pc:sldChg>
      <pc:sldChg chg="delSp">
        <pc:chgData name="Brito Cortés, Sofía Constanza" userId="bc780694-5ad3-4b43-9d08-68ceeeeb3a92" providerId="ADAL" clId="{78668647-0E4E-4D51-9C0E-13926B4FF229}" dt="2023-07-13T15:44:17.838" v="5554"/>
        <pc:sldMkLst>
          <pc:docMk/>
          <pc:sldMk cId="3749523609" sldId="1344"/>
        </pc:sldMkLst>
        <pc:spChg chg="del">
          <ac:chgData name="Brito Cortés, Sofía Constanza" userId="bc780694-5ad3-4b43-9d08-68ceeeeb3a92" providerId="ADAL" clId="{78668647-0E4E-4D51-9C0E-13926B4FF229}" dt="2023-07-13T15:44:17.838" v="5554"/>
          <ac:spMkLst>
            <pc:docMk/>
            <pc:sldMk cId="3749523609" sldId="1344"/>
            <ac:spMk id="2" creationId="{9A5E0621-F821-352D-C40F-0938B3C181F8}"/>
          </ac:spMkLst>
        </pc:spChg>
      </pc:sldChg>
      <pc:sldChg chg="delSp">
        <pc:chgData name="Brito Cortés, Sofía Constanza" userId="bc780694-5ad3-4b43-9d08-68ceeeeb3a92" providerId="ADAL" clId="{78668647-0E4E-4D51-9C0E-13926B4FF229}" dt="2023-07-13T15:44:17.838" v="5554"/>
        <pc:sldMkLst>
          <pc:docMk/>
          <pc:sldMk cId="3089595943" sldId="1345"/>
        </pc:sldMkLst>
        <pc:spChg chg="del">
          <ac:chgData name="Brito Cortés, Sofía Constanza" userId="bc780694-5ad3-4b43-9d08-68ceeeeb3a92" providerId="ADAL" clId="{78668647-0E4E-4D51-9C0E-13926B4FF229}" dt="2023-07-13T15:44:17.838" v="5554"/>
          <ac:spMkLst>
            <pc:docMk/>
            <pc:sldMk cId="3089595943" sldId="1345"/>
            <ac:spMk id="2" creationId="{377F9C0B-D899-5CC2-3A31-DA31D99CD4FE}"/>
          </ac:spMkLst>
        </pc:spChg>
      </pc:sldChg>
      <pc:sldChg chg="delSp">
        <pc:chgData name="Brito Cortés, Sofía Constanza" userId="bc780694-5ad3-4b43-9d08-68ceeeeb3a92" providerId="ADAL" clId="{78668647-0E4E-4D51-9C0E-13926B4FF229}" dt="2023-07-13T15:44:17.838" v="5554"/>
        <pc:sldMkLst>
          <pc:docMk/>
          <pc:sldMk cId="3001611831" sldId="1349"/>
        </pc:sldMkLst>
        <pc:spChg chg="del">
          <ac:chgData name="Brito Cortés, Sofía Constanza" userId="bc780694-5ad3-4b43-9d08-68ceeeeb3a92" providerId="ADAL" clId="{78668647-0E4E-4D51-9C0E-13926B4FF229}" dt="2023-07-13T15:44:17.838" v="5554"/>
          <ac:spMkLst>
            <pc:docMk/>
            <pc:sldMk cId="3001611831" sldId="1349"/>
            <ac:spMk id="2" creationId="{498FBD31-DA9C-DCD3-8791-110F4E396870}"/>
          </ac:spMkLst>
        </pc:spChg>
      </pc:sldChg>
      <pc:sldChg chg="delSp">
        <pc:chgData name="Brito Cortés, Sofía Constanza" userId="bc780694-5ad3-4b43-9d08-68ceeeeb3a92" providerId="ADAL" clId="{78668647-0E4E-4D51-9C0E-13926B4FF229}" dt="2023-07-13T15:44:17.838" v="5554"/>
        <pc:sldMkLst>
          <pc:docMk/>
          <pc:sldMk cId="2333318966" sldId="1356"/>
        </pc:sldMkLst>
        <pc:spChg chg="del">
          <ac:chgData name="Brito Cortés, Sofía Constanza" userId="bc780694-5ad3-4b43-9d08-68ceeeeb3a92" providerId="ADAL" clId="{78668647-0E4E-4D51-9C0E-13926B4FF229}" dt="2023-07-13T15:44:17.838" v="5554"/>
          <ac:spMkLst>
            <pc:docMk/>
            <pc:sldMk cId="2333318966" sldId="1356"/>
            <ac:spMk id="2" creationId="{2AA53882-D390-C27B-5D2D-37E757245D52}"/>
          </ac:spMkLst>
        </pc:spChg>
      </pc:sldChg>
      <pc:sldChg chg="addSp delSp modSp mod">
        <pc:chgData name="Brito Cortés, Sofía Constanza" userId="bc780694-5ad3-4b43-9d08-68ceeeeb3a92" providerId="ADAL" clId="{78668647-0E4E-4D51-9C0E-13926B4FF229}" dt="2023-07-13T15:41:39.433" v="5479" actId="478"/>
        <pc:sldMkLst>
          <pc:docMk/>
          <pc:sldMk cId="2978932154" sldId="2147472045"/>
        </pc:sldMkLst>
        <pc:spChg chg="add del mod">
          <ac:chgData name="Brito Cortés, Sofía Constanza" userId="bc780694-5ad3-4b43-9d08-68ceeeeb3a92" providerId="ADAL" clId="{78668647-0E4E-4D51-9C0E-13926B4FF229}" dt="2023-07-13T15:41:39.433" v="5479" actId="478"/>
          <ac:spMkLst>
            <pc:docMk/>
            <pc:sldMk cId="2978932154" sldId="2147472045"/>
            <ac:spMk id="3" creationId="{B23F3DDB-C218-E468-FF49-5F07366389EE}"/>
          </ac:spMkLst>
        </pc:spChg>
        <pc:spChg chg="mod">
          <ac:chgData name="Brito Cortés, Sofía Constanza" userId="bc780694-5ad3-4b43-9d08-68ceeeeb3a92" providerId="ADAL" clId="{78668647-0E4E-4D51-9C0E-13926B4FF229}" dt="2023-07-13T15:41:34.415" v="5478" actId="14100"/>
          <ac:spMkLst>
            <pc:docMk/>
            <pc:sldMk cId="2978932154" sldId="2147472045"/>
            <ac:spMk id="5" creationId="{58CB0A50-5842-CA36-C782-05223D366F2E}"/>
          </ac:spMkLst>
        </pc:spChg>
      </pc:sldChg>
      <pc:sldChg chg="addSp delSp modSp mod">
        <pc:chgData name="Brito Cortés, Sofía Constanza" userId="bc780694-5ad3-4b43-9d08-68ceeeeb3a92" providerId="ADAL" clId="{78668647-0E4E-4D51-9C0E-13926B4FF229}" dt="2023-07-13T15:42:03.361" v="5505" actId="14100"/>
        <pc:sldMkLst>
          <pc:docMk/>
          <pc:sldMk cId="4112429752" sldId="2147472047"/>
        </pc:sldMkLst>
        <pc:spChg chg="mod ord">
          <ac:chgData name="Brito Cortés, Sofía Constanza" userId="bc780694-5ad3-4b43-9d08-68ceeeeb3a92" providerId="ADAL" clId="{78668647-0E4E-4D51-9C0E-13926B4FF229}" dt="2023-07-13T14:46:40.458" v="3668"/>
          <ac:spMkLst>
            <pc:docMk/>
            <pc:sldMk cId="4112429752" sldId="2147472047"/>
            <ac:spMk id="2" creationId="{A1A99D6D-FBC5-1F79-80B1-A94A520EBB19}"/>
          </ac:spMkLst>
        </pc:spChg>
        <pc:spChg chg="mod ord">
          <ac:chgData name="Brito Cortés, Sofía Constanza" userId="bc780694-5ad3-4b43-9d08-68ceeeeb3a92" providerId="ADAL" clId="{78668647-0E4E-4D51-9C0E-13926B4FF229}" dt="2023-07-13T15:41:51.668" v="5503" actId="14100"/>
          <ac:spMkLst>
            <pc:docMk/>
            <pc:sldMk cId="4112429752" sldId="2147472047"/>
            <ac:spMk id="3" creationId="{2B058712-AE2A-17B3-7F91-02EE988E916E}"/>
          </ac:spMkLst>
        </pc:spChg>
        <pc:spChg chg="add del mod modVis">
          <ac:chgData name="Brito Cortés, Sofía Constanza" userId="bc780694-5ad3-4b43-9d08-68ceeeeb3a92" providerId="ADAL" clId="{78668647-0E4E-4D51-9C0E-13926B4FF229}" dt="2023-07-13T14:46:06.053" v="2785"/>
          <ac:spMkLst>
            <pc:docMk/>
            <pc:sldMk cId="4112429752" sldId="2147472047"/>
            <ac:spMk id="4" creationId="{8F8E35D4-0A3D-7D39-B911-8AF747E6651F}"/>
          </ac:spMkLst>
        </pc:spChg>
        <pc:spChg chg="mod">
          <ac:chgData name="Brito Cortés, Sofía Constanza" userId="bc780694-5ad3-4b43-9d08-68ceeeeb3a92" providerId="ADAL" clId="{78668647-0E4E-4D51-9C0E-13926B4FF229}" dt="2023-07-13T14:46:40.466" v="3692"/>
          <ac:spMkLst>
            <pc:docMk/>
            <pc:sldMk cId="4112429752" sldId="2147472047"/>
            <ac:spMk id="11" creationId="{9B3A2052-7C2B-1132-8D43-9FEB85219D64}"/>
          </ac:spMkLst>
        </pc:spChg>
        <pc:spChg chg="mod">
          <ac:chgData name="Brito Cortés, Sofía Constanza" userId="bc780694-5ad3-4b43-9d08-68ceeeeb3a92" providerId="ADAL" clId="{78668647-0E4E-4D51-9C0E-13926B4FF229}" dt="2023-07-13T14:46:40.464" v="3686"/>
          <ac:spMkLst>
            <pc:docMk/>
            <pc:sldMk cId="4112429752" sldId="2147472047"/>
            <ac:spMk id="12" creationId="{568851F3-4012-F75C-19F7-F7268197D3F7}"/>
          </ac:spMkLst>
        </pc:spChg>
        <pc:spChg chg="mod">
          <ac:chgData name="Brito Cortés, Sofía Constanza" userId="bc780694-5ad3-4b43-9d08-68ceeeeb3a92" providerId="ADAL" clId="{78668647-0E4E-4D51-9C0E-13926B4FF229}" dt="2023-07-13T14:46:40.464" v="3687"/>
          <ac:spMkLst>
            <pc:docMk/>
            <pc:sldMk cId="4112429752" sldId="2147472047"/>
            <ac:spMk id="13" creationId="{C3A9D536-CA42-FFBA-8234-1B3937FE3B68}"/>
          </ac:spMkLst>
        </pc:spChg>
        <pc:spChg chg="mod">
          <ac:chgData name="Brito Cortés, Sofía Constanza" userId="bc780694-5ad3-4b43-9d08-68ceeeeb3a92" providerId="ADAL" clId="{78668647-0E4E-4D51-9C0E-13926B4FF229}" dt="2023-07-13T14:46:40.465" v="3689"/>
          <ac:spMkLst>
            <pc:docMk/>
            <pc:sldMk cId="4112429752" sldId="2147472047"/>
            <ac:spMk id="14" creationId="{B2310BA7-549D-DD35-CACB-8A211254C873}"/>
          </ac:spMkLst>
        </pc:spChg>
        <pc:spChg chg="mod">
          <ac:chgData name="Brito Cortés, Sofía Constanza" userId="bc780694-5ad3-4b43-9d08-68ceeeeb3a92" providerId="ADAL" clId="{78668647-0E4E-4D51-9C0E-13926B4FF229}" dt="2023-07-13T14:46:40.471" v="3705"/>
          <ac:spMkLst>
            <pc:docMk/>
            <pc:sldMk cId="4112429752" sldId="2147472047"/>
            <ac:spMk id="15" creationId="{2B8D8946-9C9B-1AA1-6D69-2A6CC3201EB5}"/>
          </ac:spMkLst>
        </pc:spChg>
        <pc:spChg chg="mod ord">
          <ac:chgData name="Brito Cortés, Sofía Constanza" userId="bc780694-5ad3-4b43-9d08-68ceeeeb3a92" providerId="ADAL" clId="{78668647-0E4E-4D51-9C0E-13926B4FF229}" dt="2023-07-13T14:46:40.463" v="3683"/>
          <ac:spMkLst>
            <pc:docMk/>
            <pc:sldMk cId="4112429752" sldId="2147472047"/>
            <ac:spMk id="16" creationId="{DA8125F0-A453-603D-AC5A-038F78701EFA}"/>
          </ac:spMkLst>
        </pc:spChg>
        <pc:spChg chg="mod">
          <ac:chgData name="Brito Cortés, Sofía Constanza" userId="bc780694-5ad3-4b43-9d08-68ceeeeb3a92" providerId="ADAL" clId="{78668647-0E4E-4D51-9C0E-13926B4FF229}" dt="2023-07-13T14:46:40.462" v="3682"/>
          <ac:spMkLst>
            <pc:docMk/>
            <pc:sldMk cId="4112429752" sldId="2147472047"/>
            <ac:spMk id="17" creationId="{22529640-FB0D-C767-E0FD-31A7CC131902}"/>
          </ac:spMkLst>
        </pc:spChg>
        <pc:spChg chg="mod">
          <ac:chgData name="Brito Cortés, Sofía Constanza" userId="bc780694-5ad3-4b43-9d08-68ceeeeb3a92" providerId="ADAL" clId="{78668647-0E4E-4D51-9C0E-13926B4FF229}" dt="2023-07-13T14:46:40.463" v="3684"/>
          <ac:spMkLst>
            <pc:docMk/>
            <pc:sldMk cId="4112429752" sldId="2147472047"/>
            <ac:spMk id="18" creationId="{11A83897-26BA-B6C2-0D3E-AF9662A49A77}"/>
          </ac:spMkLst>
        </pc:spChg>
        <pc:spChg chg="mod">
          <ac:chgData name="Brito Cortés, Sofía Constanza" userId="bc780694-5ad3-4b43-9d08-68ceeeeb3a92" providerId="ADAL" clId="{78668647-0E4E-4D51-9C0E-13926B4FF229}" dt="2023-07-13T14:46:40.465" v="3688"/>
          <ac:spMkLst>
            <pc:docMk/>
            <pc:sldMk cId="4112429752" sldId="2147472047"/>
            <ac:spMk id="19" creationId="{3E1663B2-7ABD-0553-9744-88C915E4576A}"/>
          </ac:spMkLst>
        </pc:spChg>
        <pc:spChg chg="mod">
          <ac:chgData name="Brito Cortés, Sofía Constanza" userId="bc780694-5ad3-4b43-9d08-68ceeeeb3a92" providerId="ADAL" clId="{78668647-0E4E-4D51-9C0E-13926B4FF229}" dt="2023-07-13T14:46:40.463" v="3685"/>
          <ac:spMkLst>
            <pc:docMk/>
            <pc:sldMk cId="4112429752" sldId="2147472047"/>
            <ac:spMk id="20" creationId="{DBEB1A78-1877-1DB9-7E54-FE29CB3493A0}"/>
          </ac:spMkLst>
        </pc:spChg>
        <pc:spChg chg="mod">
          <ac:chgData name="Brito Cortés, Sofía Constanza" userId="bc780694-5ad3-4b43-9d08-68ceeeeb3a92" providerId="ADAL" clId="{78668647-0E4E-4D51-9C0E-13926B4FF229}" dt="2023-07-13T14:46:40.465" v="3690"/>
          <ac:spMkLst>
            <pc:docMk/>
            <pc:sldMk cId="4112429752" sldId="2147472047"/>
            <ac:spMk id="21" creationId="{1243E8EE-382E-4AD7-5671-373677B5D930}"/>
          </ac:spMkLst>
        </pc:spChg>
        <pc:spChg chg="mod">
          <ac:chgData name="Brito Cortés, Sofía Constanza" userId="bc780694-5ad3-4b43-9d08-68ceeeeb3a92" providerId="ADAL" clId="{78668647-0E4E-4D51-9C0E-13926B4FF229}" dt="2023-07-13T14:46:40.466" v="3691"/>
          <ac:spMkLst>
            <pc:docMk/>
            <pc:sldMk cId="4112429752" sldId="2147472047"/>
            <ac:spMk id="22" creationId="{8CEAEBB5-4390-191D-CE21-A5D679EC1CC5}"/>
          </ac:spMkLst>
        </pc:spChg>
        <pc:spChg chg="mod">
          <ac:chgData name="Brito Cortés, Sofía Constanza" userId="bc780694-5ad3-4b43-9d08-68ceeeeb3a92" providerId="ADAL" clId="{78668647-0E4E-4D51-9C0E-13926B4FF229}" dt="2023-07-13T14:46:40.466" v="3693"/>
          <ac:spMkLst>
            <pc:docMk/>
            <pc:sldMk cId="4112429752" sldId="2147472047"/>
            <ac:spMk id="23" creationId="{4FF3B23F-04BF-8455-8210-31537FE94338}"/>
          </ac:spMkLst>
        </pc:spChg>
        <pc:spChg chg="mod">
          <ac:chgData name="Brito Cortés, Sofía Constanza" userId="bc780694-5ad3-4b43-9d08-68ceeeeb3a92" providerId="ADAL" clId="{78668647-0E4E-4D51-9C0E-13926B4FF229}" dt="2023-07-13T14:46:40.467" v="3694"/>
          <ac:spMkLst>
            <pc:docMk/>
            <pc:sldMk cId="4112429752" sldId="2147472047"/>
            <ac:spMk id="24" creationId="{C0BECB80-30C2-F89E-ED45-9D53C277CE9C}"/>
          </ac:spMkLst>
        </pc:spChg>
        <pc:spChg chg="mod">
          <ac:chgData name="Brito Cortés, Sofía Constanza" userId="bc780694-5ad3-4b43-9d08-68ceeeeb3a92" providerId="ADAL" clId="{78668647-0E4E-4D51-9C0E-13926B4FF229}" dt="2023-07-13T14:46:40.467" v="3695"/>
          <ac:spMkLst>
            <pc:docMk/>
            <pc:sldMk cId="4112429752" sldId="2147472047"/>
            <ac:spMk id="25" creationId="{2AE3DF99-3362-A844-52F5-4B9DA348626E}"/>
          </ac:spMkLst>
        </pc:spChg>
        <pc:spChg chg="mod">
          <ac:chgData name="Brito Cortés, Sofía Constanza" userId="bc780694-5ad3-4b43-9d08-68ceeeeb3a92" providerId="ADAL" clId="{78668647-0E4E-4D51-9C0E-13926B4FF229}" dt="2023-07-13T14:46:40.467" v="3696"/>
          <ac:spMkLst>
            <pc:docMk/>
            <pc:sldMk cId="4112429752" sldId="2147472047"/>
            <ac:spMk id="26" creationId="{ACF4148B-BA2F-0DB0-8D71-18CB069ACAEF}"/>
          </ac:spMkLst>
        </pc:spChg>
        <pc:spChg chg="mod">
          <ac:chgData name="Brito Cortés, Sofía Constanza" userId="bc780694-5ad3-4b43-9d08-68ceeeeb3a92" providerId="ADAL" clId="{78668647-0E4E-4D51-9C0E-13926B4FF229}" dt="2023-07-13T14:46:40.468" v="3698"/>
          <ac:spMkLst>
            <pc:docMk/>
            <pc:sldMk cId="4112429752" sldId="2147472047"/>
            <ac:spMk id="27" creationId="{D76D2B32-0177-78DD-2FE7-251BB015B7E2}"/>
          </ac:spMkLst>
        </pc:spChg>
        <pc:spChg chg="mod">
          <ac:chgData name="Brito Cortés, Sofía Constanza" userId="bc780694-5ad3-4b43-9d08-68ceeeeb3a92" providerId="ADAL" clId="{78668647-0E4E-4D51-9C0E-13926B4FF229}" dt="2023-07-13T14:46:40.468" v="3699"/>
          <ac:spMkLst>
            <pc:docMk/>
            <pc:sldMk cId="4112429752" sldId="2147472047"/>
            <ac:spMk id="28" creationId="{9837B9EF-2AB0-EFCF-D2BA-A90BC4C73043}"/>
          </ac:spMkLst>
        </pc:spChg>
        <pc:spChg chg="mod">
          <ac:chgData name="Brito Cortés, Sofía Constanza" userId="bc780694-5ad3-4b43-9d08-68ceeeeb3a92" providerId="ADAL" clId="{78668647-0E4E-4D51-9C0E-13926B4FF229}" dt="2023-07-13T14:46:40.468" v="3697"/>
          <ac:spMkLst>
            <pc:docMk/>
            <pc:sldMk cId="4112429752" sldId="2147472047"/>
            <ac:spMk id="29" creationId="{67F17703-0039-F4CF-3B02-854819A48F5D}"/>
          </ac:spMkLst>
        </pc:spChg>
        <pc:spChg chg="mod">
          <ac:chgData name="Brito Cortés, Sofía Constanza" userId="bc780694-5ad3-4b43-9d08-68ceeeeb3a92" providerId="ADAL" clId="{78668647-0E4E-4D51-9C0E-13926B4FF229}" dt="2023-07-13T14:46:40.469" v="3700"/>
          <ac:spMkLst>
            <pc:docMk/>
            <pc:sldMk cId="4112429752" sldId="2147472047"/>
            <ac:spMk id="30" creationId="{39CCEF68-CC70-683C-5298-38B9E999CD7F}"/>
          </ac:spMkLst>
        </pc:spChg>
        <pc:spChg chg="mod">
          <ac:chgData name="Brito Cortés, Sofía Constanza" userId="bc780694-5ad3-4b43-9d08-68ceeeeb3a92" providerId="ADAL" clId="{78668647-0E4E-4D51-9C0E-13926B4FF229}" dt="2023-07-13T14:46:40.469" v="3701"/>
          <ac:spMkLst>
            <pc:docMk/>
            <pc:sldMk cId="4112429752" sldId="2147472047"/>
            <ac:spMk id="31" creationId="{D3019188-B777-DDA0-63A1-736C7B1789A0}"/>
          </ac:spMkLst>
        </pc:spChg>
        <pc:spChg chg="mod">
          <ac:chgData name="Brito Cortés, Sofía Constanza" userId="bc780694-5ad3-4b43-9d08-68ceeeeb3a92" providerId="ADAL" clId="{78668647-0E4E-4D51-9C0E-13926B4FF229}" dt="2023-07-13T14:46:40.470" v="3702"/>
          <ac:spMkLst>
            <pc:docMk/>
            <pc:sldMk cId="4112429752" sldId="2147472047"/>
            <ac:spMk id="32" creationId="{FBBD7066-D519-F436-7AC9-0C8693438E6D}"/>
          </ac:spMkLst>
        </pc:spChg>
        <pc:spChg chg="mod">
          <ac:chgData name="Brito Cortés, Sofía Constanza" userId="bc780694-5ad3-4b43-9d08-68ceeeeb3a92" providerId="ADAL" clId="{78668647-0E4E-4D51-9C0E-13926B4FF229}" dt="2023-07-13T14:46:40.470" v="3703"/>
          <ac:spMkLst>
            <pc:docMk/>
            <pc:sldMk cId="4112429752" sldId="2147472047"/>
            <ac:spMk id="33" creationId="{00D8E201-B958-268A-BC92-321E25B63352}"/>
          </ac:spMkLst>
        </pc:spChg>
        <pc:spChg chg="mod">
          <ac:chgData name="Brito Cortés, Sofía Constanza" userId="bc780694-5ad3-4b43-9d08-68ceeeeb3a92" providerId="ADAL" clId="{78668647-0E4E-4D51-9C0E-13926B4FF229}" dt="2023-07-13T14:46:40.470" v="3704"/>
          <ac:spMkLst>
            <pc:docMk/>
            <pc:sldMk cId="4112429752" sldId="2147472047"/>
            <ac:spMk id="34" creationId="{8D51E5C2-A97B-E4E8-21FE-CFF731127E5D}"/>
          </ac:spMkLst>
        </pc:spChg>
        <pc:spChg chg="mod ord">
          <ac:chgData name="Brito Cortés, Sofía Constanza" userId="bc780694-5ad3-4b43-9d08-68ceeeeb3a92" providerId="ADAL" clId="{78668647-0E4E-4D51-9C0E-13926B4FF229}" dt="2023-07-13T14:46:40.472" v="3709"/>
          <ac:spMkLst>
            <pc:docMk/>
            <pc:sldMk cId="4112429752" sldId="2147472047"/>
            <ac:spMk id="35" creationId="{9F1C12AB-E41E-C908-C55C-78AAA4262DBB}"/>
          </ac:spMkLst>
        </pc:spChg>
        <pc:spChg chg="mod ord">
          <ac:chgData name="Brito Cortés, Sofía Constanza" userId="bc780694-5ad3-4b43-9d08-68ceeeeb3a92" providerId="ADAL" clId="{78668647-0E4E-4D51-9C0E-13926B4FF229}" dt="2023-07-13T14:46:40.472" v="3707"/>
          <ac:spMkLst>
            <pc:docMk/>
            <pc:sldMk cId="4112429752" sldId="2147472047"/>
            <ac:spMk id="36" creationId="{CA32EEFE-D9E9-6679-6249-36157FF6AF24}"/>
          </ac:spMkLst>
        </pc:spChg>
        <pc:spChg chg="mod">
          <ac:chgData name="Brito Cortés, Sofía Constanza" userId="bc780694-5ad3-4b43-9d08-68ceeeeb3a92" providerId="ADAL" clId="{78668647-0E4E-4D51-9C0E-13926B4FF229}" dt="2023-07-13T14:46:40.473" v="3711"/>
          <ac:spMkLst>
            <pc:docMk/>
            <pc:sldMk cId="4112429752" sldId="2147472047"/>
            <ac:spMk id="37" creationId="{F1FCB6E9-025E-A8A7-C2CD-8080D80AFE60}"/>
          </ac:spMkLst>
        </pc:spChg>
        <pc:spChg chg="mod">
          <ac:chgData name="Brito Cortés, Sofía Constanza" userId="bc780694-5ad3-4b43-9d08-68ceeeeb3a92" providerId="ADAL" clId="{78668647-0E4E-4D51-9C0E-13926B4FF229}" dt="2023-07-13T14:46:40.473" v="3710"/>
          <ac:spMkLst>
            <pc:docMk/>
            <pc:sldMk cId="4112429752" sldId="2147472047"/>
            <ac:spMk id="38" creationId="{71492B7F-0DD7-5325-9300-4A5FA6D0FBED}"/>
          </ac:spMkLst>
        </pc:spChg>
        <pc:spChg chg="mod ord">
          <ac:chgData name="Brito Cortés, Sofía Constanza" userId="bc780694-5ad3-4b43-9d08-68ceeeeb3a92" providerId="ADAL" clId="{78668647-0E4E-4D51-9C0E-13926B4FF229}" dt="2023-07-13T14:46:40.475" v="3713"/>
          <ac:spMkLst>
            <pc:docMk/>
            <pc:sldMk cId="4112429752" sldId="2147472047"/>
            <ac:spMk id="39" creationId="{63451686-AF3E-42C7-2405-C4D4344381F5}"/>
          </ac:spMkLst>
        </pc:spChg>
        <pc:spChg chg="mod ord">
          <ac:chgData name="Brito Cortés, Sofía Constanza" userId="bc780694-5ad3-4b43-9d08-68ceeeeb3a92" providerId="ADAL" clId="{78668647-0E4E-4D51-9C0E-13926B4FF229}" dt="2023-07-13T14:46:40.475" v="3715"/>
          <ac:spMkLst>
            <pc:docMk/>
            <pc:sldMk cId="4112429752" sldId="2147472047"/>
            <ac:spMk id="40" creationId="{05CB738D-5573-9F27-29DA-0D6D65E03D68}"/>
          </ac:spMkLst>
        </pc:spChg>
        <pc:spChg chg="mod ord">
          <ac:chgData name="Brito Cortés, Sofía Constanza" userId="bc780694-5ad3-4b43-9d08-68ceeeeb3a92" providerId="ADAL" clId="{78668647-0E4E-4D51-9C0E-13926B4FF229}" dt="2023-07-13T14:46:40.475" v="3717"/>
          <ac:spMkLst>
            <pc:docMk/>
            <pc:sldMk cId="4112429752" sldId="2147472047"/>
            <ac:spMk id="41" creationId="{3C6B45F3-C845-E737-59F3-16FCCE75AB0F}"/>
          </ac:spMkLst>
        </pc:spChg>
        <pc:spChg chg="mod ord">
          <ac:chgData name="Brito Cortés, Sofía Constanza" userId="bc780694-5ad3-4b43-9d08-68ceeeeb3a92" providerId="ADAL" clId="{78668647-0E4E-4D51-9C0E-13926B4FF229}" dt="2023-07-13T14:46:40.476" v="3719"/>
          <ac:spMkLst>
            <pc:docMk/>
            <pc:sldMk cId="4112429752" sldId="2147472047"/>
            <ac:spMk id="42" creationId="{9D6E9A75-686A-206A-FCA2-E0F84EEADB32}"/>
          </ac:spMkLst>
        </pc:spChg>
        <pc:spChg chg="mod ord">
          <ac:chgData name="Brito Cortés, Sofía Constanza" userId="bc780694-5ad3-4b43-9d08-68ceeeeb3a92" providerId="ADAL" clId="{78668647-0E4E-4D51-9C0E-13926B4FF229}" dt="2023-07-13T14:46:40.476" v="3721"/>
          <ac:spMkLst>
            <pc:docMk/>
            <pc:sldMk cId="4112429752" sldId="2147472047"/>
            <ac:spMk id="43" creationId="{9D0C83B1-F5FF-0319-3088-D912C83C984C}"/>
          </ac:spMkLst>
        </pc:spChg>
        <pc:spChg chg="mod ord">
          <ac:chgData name="Brito Cortés, Sofía Constanza" userId="bc780694-5ad3-4b43-9d08-68ceeeeb3a92" providerId="ADAL" clId="{78668647-0E4E-4D51-9C0E-13926B4FF229}" dt="2023-07-13T14:46:40.477" v="3723"/>
          <ac:spMkLst>
            <pc:docMk/>
            <pc:sldMk cId="4112429752" sldId="2147472047"/>
            <ac:spMk id="44" creationId="{23AF473A-64C2-E105-32C4-BC952D1100D3}"/>
          </ac:spMkLst>
        </pc:spChg>
        <pc:spChg chg="mod ord">
          <ac:chgData name="Brito Cortés, Sofía Constanza" userId="bc780694-5ad3-4b43-9d08-68ceeeeb3a92" providerId="ADAL" clId="{78668647-0E4E-4D51-9C0E-13926B4FF229}" dt="2023-07-13T14:46:40.477" v="3725"/>
          <ac:spMkLst>
            <pc:docMk/>
            <pc:sldMk cId="4112429752" sldId="2147472047"/>
            <ac:spMk id="45" creationId="{6AA9ED44-4BE7-4FAC-0B52-3053341D587F}"/>
          </ac:spMkLst>
        </pc:spChg>
        <pc:spChg chg="mod ord">
          <ac:chgData name="Brito Cortés, Sofía Constanza" userId="bc780694-5ad3-4b43-9d08-68ceeeeb3a92" providerId="ADAL" clId="{78668647-0E4E-4D51-9C0E-13926B4FF229}" dt="2023-07-13T14:46:40.478" v="3727"/>
          <ac:spMkLst>
            <pc:docMk/>
            <pc:sldMk cId="4112429752" sldId="2147472047"/>
            <ac:spMk id="46" creationId="{53AABDB7-3875-62D7-6E4E-100D4DEF68AF}"/>
          </ac:spMkLst>
        </pc:spChg>
        <pc:spChg chg="mod ord">
          <ac:chgData name="Brito Cortés, Sofía Constanza" userId="bc780694-5ad3-4b43-9d08-68ceeeeb3a92" providerId="ADAL" clId="{78668647-0E4E-4D51-9C0E-13926B4FF229}" dt="2023-07-13T14:46:40.479" v="3729"/>
          <ac:spMkLst>
            <pc:docMk/>
            <pc:sldMk cId="4112429752" sldId="2147472047"/>
            <ac:spMk id="47" creationId="{6939A5A2-30A9-7803-A92F-81503D5220A6}"/>
          </ac:spMkLst>
        </pc:spChg>
        <pc:spChg chg="mod ord">
          <ac:chgData name="Brito Cortés, Sofía Constanza" userId="bc780694-5ad3-4b43-9d08-68ceeeeb3a92" providerId="ADAL" clId="{78668647-0E4E-4D51-9C0E-13926B4FF229}" dt="2023-07-13T14:46:40.479" v="3731"/>
          <ac:spMkLst>
            <pc:docMk/>
            <pc:sldMk cId="4112429752" sldId="2147472047"/>
            <ac:spMk id="48" creationId="{0F2C7FCA-D284-FF3F-9DDD-2E9392046EC6}"/>
          </ac:spMkLst>
        </pc:spChg>
        <pc:spChg chg="mod ord">
          <ac:chgData name="Brito Cortés, Sofía Constanza" userId="bc780694-5ad3-4b43-9d08-68ceeeeb3a92" providerId="ADAL" clId="{78668647-0E4E-4D51-9C0E-13926B4FF229}" dt="2023-07-13T14:46:40.480" v="3733"/>
          <ac:spMkLst>
            <pc:docMk/>
            <pc:sldMk cId="4112429752" sldId="2147472047"/>
            <ac:spMk id="49" creationId="{773CF904-C2A9-C27C-1CFC-04CAA1D8F512}"/>
          </ac:spMkLst>
        </pc:spChg>
        <pc:spChg chg="mod ord">
          <ac:chgData name="Brito Cortés, Sofía Constanza" userId="bc780694-5ad3-4b43-9d08-68ceeeeb3a92" providerId="ADAL" clId="{78668647-0E4E-4D51-9C0E-13926B4FF229}" dt="2023-07-13T14:46:40.480" v="3735"/>
          <ac:spMkLst>
            <pc:docMk/>
            <pc:sldMk cId="4112429752" sldId="2147472047"/>
            <ac:spMk id="50" creationId="{769705C2-B416-A5F0-E408-FC1A4D29AE2B}"/>
          </ac:spMkLst>
        </pc:spChg>
        <pc:spChg chg="mod ord">
          <ac:chgData name="Brito Cortés, Sofía Constanza" userId="bc780694-5ad3-4b43-9d08-68ceeeeb3a92" providerId="ADAL" clId="{78668647-0E4E-4D51-9C0E-13926B4FF229}" dt="2023-07-13T14:46:40.480" v="3737"/>
          <ac:spMkLst>
            <pc:docMk/>
            <pc:sldMk cId="4112429752" sldId="2147472047"/>
            <ac:spMk id="51" creationId="{1B5A1FED-98DD-912F-B27D-667038B07C18}"/>
          </ac:spMkLst>
        </pc:spChg>
        <pc:spChg chg="mod ord">
          <ac:chgData name="Brito Cortés, Sofía Constanza" userId="bc780694-5ad3-4b43-9d08-68ceeeeb3a92" providerId="ADAL" clId="{78668647-0E4E-4D51-9C0E-13926B4FF229}" dt="2023-07-13T14:46:40.481" v="3739"/>
          <ac:spMkLst>
            <pc:docMk/>
            <pc:sldMk cId="4112429752" sldId="2147472047"/>
            <ac:spMk id="52" creationId="{177FB5D2-3822-966D-C16A-0ABD93C5F824}"/>
          </ac:spMkLst>
        </pc:spChg>
        <pc:spChg chg="mod ord">
          <ac:chgData name="Brito Cortés, Sofía Constanza" userId="bc780694-5ad3-4b43-9d08-68ceeeeb3a92" providerId="ADAL" clId="{78668647-0E4E-4D51-9C0E-13926B4FF229}" dt="2023-07-13T14:46:40.481" v="3741"/>
          <ac:spMkLst>
            <pc:docMk/>
            <pc:sldMk cId="4112429752" sldId="2147472047"/>
            <ac:spMk id="53" creationId="{FF4BAB4C-AAEF-56F2-ED43-12A03C34F46E}"/>
          </ac:spMkLst>
        </pc:spChg>
        <pc:spChg chg="mod ord">
          <ac:chgData name="Brito Cortés, Sofía Constanza" userId="bc780694-5ad3-4b43-9d08-68ceeeeb3a92" providerId="ADAL" clId="{78668647-0E4E-4D51-9C0E-13926B4FF229}" dt="2023-07-13T14:46:40.483" v="3745"/>
          <ac:spMkLst>
            <pc:docMk/>
            <pc:sldMk cId="4112429752" sldId="2147472047"/>
            <ac:spMk id="55" creationId="{763F8062-6062-D8BE-022E-CAC9D5DD07B3}"/>
          </ac:spMkLst>
        </pc:spChg>
        <pc:spChg chg="mod ord">
          <ac:chgData name="Brito Cortés, Sofía Constanza" userId="bc780694-5ad3-4b43-9d08-68ceeeeb3a92" providerId="ADAL" clId="{78668647-0E4E-4D51-9C0E-13926B4FF229}" dt="2023-07-13T14:46:40.483" v="3747"/>
          <ac:spMkLst>
            <pc:docMk/>
            <pc:sldMk cId="4112429752" sldId="2147472047"/>
            <ac:spMk id="56" creationId="{BFF64D7F-8FEC-033B-CC3A-CD69DAE2A982}"/>
          </ac:spMkLst>
        </pc:spChg>
        <pc:spChg chg="mod ord">
          <ac:chgData name="Brito Cortés, Sofía Constanza" userId="bc780694-5ad3-4b43-9d08-68ceeeeb3a92" providerId="ADAL" clId="{78668647-0E4E-4D51-9C0E-13926B4FF229}" dt="2023-07-13T14:46:40.484" v="3749"/>
          <ac:spMkLst>
            <pc:docMk/>
            <pc:sldMk cId="4112429752" sldId="2147472047"/>
            <ac:spMk id="57" creationId="{E3BF66F3-BA5C-8614-DAFE-9F52318C2C3C}"/>
          </ac:spMkLst>
        </pc:spChg>
        <pc:spChg chg="mod ord">
          <ac:chgData name="Brito Cortés, Sofía Constanza" userId="bc780694-5ad3-4b43-9d08-68ceeeeb3a92" providerId="ADAL" clId="{78668647-0E4E-4D51-9C0E-13926B4FF229}" dt="2023-07-13T14:46:40.484" v="3751"/>
          <ac:spMkLst>
            <pc:docMk/>
            <pc:sldMk cId="4112429752" sldId="2147472047"/>
            <ac:spMk id="58" creationId="{6CD15EA4-7E01-6365-6A0E-3670FFF4C96F}"/>
          </ac:spMkLst>
        </pc:spChg>
        <pc:spChg chg="mod ord">
          <ac:chgData name="Brito Cortés, Sofía Constanza" userId="bc780694-5ad3-4b43-9d08-68ceeeeb3a92" providerId="ADAL" clId="{78668647-0E4E-4D51-9C0E-13926B4FF229}" dt="2023-07-13T14:46:40.485" v="3753"/>
          <ac:spMkLst>
            <pc:docMk/>
            <pc:sldMk cId="4112429752" sldId="2147472047"/>
            <ac:spMk id="59" creationId="{7DA8CF12-E086-0146-CD28-FF7A063E116E}"/>
          </ac:spMkLst>
        </pc:spChg>
        <pc:spChg chg="mod ord">
          <ac:chgData name="Brito Cortés, Sofía Constanza" userId="bc780694-5ad3-4b43-9d08-68ceeeeb3a92" providerId="ADAL" clId="{78668647-0E4E-4D51-9C0E-13926B4FF229}" dt="2023-07-13T14:46:40.486" v="3755"/>
          <ac:spMkLst>
            <pc:docMk/>
            <pc:sldMk cId="4112429752" sldId="2147472047"/>
            <ac:spMk id="60" creationId="{07223135-6162-403F-CD27-6FDA5DD6E1DD}"/>
          </ac:spMkLst>
        </pc:spChg>
        <pc:spChg chg="mod ord">
          <ac:chgData name="Brito Cortés, Sofía Constanza" userId="bc780694-5ad3-4b43-9d08-68ceeeeb3a92" providerId="ADAL" clId="{78668647-0E4E-4D51-9C0E-13926B4FF229}" dt="2023-07-13T14:46:40.486" v="3757"/>
          <ac:spMkLst>
            <pc:docMk/>
            <pc:sldMk cId="4112429752" sldId="2147472047"/>
            <ac:spMk id="61" creationId="{BDC8FC60-1E2D-7865-7FCE-8A0591473161}"/>
          </ac:spMkLst>
        </pc:spChg>
        <pc:spChg chg="mod ord">
          <ac:chgData name="Brito Cortés, Sofía Constanza" userId="bc780694-5ad3-4b43-9d08-68ceeeeb3a92" providerId="ADAL" clId="{78668647-0E4E-4D51-9C0E-13926B4FF229}" dt="2023-07-13T14:46:40.487" v="3759"/>
          <ac:spMkLst>
            <pc:docMk/>
            <pc:sldMk cId="4112429752" sldId="2147472047"/>
            <ac:spMk id="62" creationId="{5951DD4D-045A-31CD-8D09-4AE6E333FD61}"/>
          </ac:spMkLst>
        </pc:spChg>
        <pc:spChg chg="mod ord">
          <ac:chgData name="Brito Cortés, Sofía Constanza" userId="bc780694-5ad3-4b43-9d08-68ceeeeb3a92" providerId="ADAL" clId="{78668647-0E4E-4D51-9C0E-13926B4FF229}" dt="2023-07-13T15:42:03.361" v="5505" actId="14100"/>
          <ac:spMkLst>
            <pc:docMk/>
            <pc:sldMk cId="4112429752" sldId="2147472047"/>
            <ac:spMk id="63" creationId="{93D9DC97-EA27-E0C5-6EE0-4EBC9A81AE6C}"/>
          </ac:spMkLst>
        </pc:spChg>
        <pc:spChg chg="mod ord">
          <ac:chgData name="Brito Cortés, Sofía Constanza" userId="bc780694-5ad3-4b43-9d08-68ceeeeb3a92" providerId="ADAL" clId="{78668647-0E4E-4D51-9C0E-13926B4FF229}" dt="2023-07-13T14:46:40.488" v="3763"/>
          <ac:spMkLst>
            <pc:docMk/>
            <pc:sldMk cId="4112429752" sldId="2147472047"/>
            <ac:spMk id="70" creationId="{431CD7B2-7D0D-4489-A2C8-B60F241ECE2D}"/>
          </ac:spMkLst>
        </pc:spChg>
        <pc:spChg chg="add del mod">
          <ac:chgData name="Brito Cortés, Sofía Constanza" userId="bc780694-5ad3-4b43-9d08-68ceeeeb3a92" providerId="ADAL" clId="{78668647-0E4E-4D51-9C0E-13926B4FF229}" dt="2023-07-13T15:41:55.436" v="5504" actId="478"/>
          <ac:spMkLst>
            <pc:docMk/>
            <pc:sldMk cId="4112429752" sldId="2147472047"/>
            <ac:spMk id="75" creationId="{E790F6A9-CB26-E6D9-4B5B-3A4B7FEEF0E6}"/>
          </ac:spMkLst>
        </pc:spChg>
        <pc:graphicFrameChg chg="add del mod replST">
          <ac:chgData name="Brito Cortés, Sofía Constanza" userId="bc780694-5ad3-4b43-9d08-68ceeeeb3a92" providerId="ADAL" clId="{78668647-0E4E-4D51-9C0E-13926B4FF229}" dt="2023-07-13T14:46:08.171" v="2815"/>
          <ac:graphicFrameMkLst>
            <pc:docMk/>
            <pc:sldMk cId="4112429752" sldId="2147472047"/>
            <ac:graphicFrameMk id="10" creationId="{32E616E1-8991-8121-D577-DC70E3C5D631}"/>
          </ac:graphicFrameMkLst>
        </pc:graphicFrameChg>
        <pc:graphicFrameChg chg="add del mod replST">
          <ac:chgData name="Brito Cortés, Sofía Constanza" userId="bc780694-5ad3-4b43-9d08-68ceeeeb3a92" providerId="ADAL" clId="{78668647-0E4E-4D51-9C0E-13926B4FF229}" dt="2023-07-13T14:46:09.508" v="2955"/>
          <ac:graphicFrameMkLst>
            <pc:docMk/>
            <pc:sldMk cId="4112429752" sldId="2147472047"/>
            <ac:graphicFrameMk id="64" creationId="{D5EE6BDA-46B9-B4C9-D09A-4DCEF2B39AEA}"/>
          </ac:graphicFrameMkLst>
        </pc:graphicFrameChg>
        <pc:graphicFrameChg chg="add del mod replST">
          <ac:chgData name="Brito Cortés, Sofía Constanza" userId="bc780694-5ad3-4b43-9d08-68ceeeeb3a92" providerId="ADAL" clId="{78668647-0E4E-4D51-9C0E-13926B4FF229}" dt="2023-07-13T14:46:16.930" v="3095"/>
          <ac:graphicFrameMkLst>
            <pc:docMk/>
            <pc:sldMk cId="4112429752" sldId="2147472047"/>
            <ac:graphicFrameMk id="65" creationId="{58202A23-3F76-B5D0-4EAE-7D2FC5AD51A4}"/>
          </ac:graphicFrameMkLst>
        </pc:graphicFrameChg>
        <pc:graphicFrameChg chg="add del mod replST">
          <ac:chgData name="Brito Cortés, Sofía Constanza" userId="bc780694-5ad3-4b43-9d08-68ceeeeb3a92" providerId="ADAL" clId="{78668647-0E4E-4D51-9C0E-13926B4FF229}" dt="2023-07-13T14:46:22.619" v="3237"/>
          <ac:graphicFrameMkLst>
            <pc:docMk/>
            <pc:sldMk cId="4112429752" sldId="2147472047"/>
            <ac:graphicFrameMk id="66" creationId="{E0D450DF-C6E0-DF18-468E-66B793107F0A}"/>
          </ac:graphicFrameMkLst>
        </pc:graphicFrameChg>
        <pc:graphicFrameChg chg="add del mod replST">
          <ac:chgData name="Brito Cortés, Sofía Constanza" userId="bc780694-5ad3-4b43-9d08-68ceeeeb3a92" providerId="ADAL" clId="{78668647-0E4E-4D51-9C0E-13926B4FF229}" dt="2023-07-13T14:46:28.840" v="3377"/>
          <ac:graphicFrameMkLst>
            <pc:docMk/>
            <pc:sldMk cId="4112429752" sldId="2147472047"/>
            <ac:graphicFrameMk id="67" creationId="{A34D8A3C-B7F7-84C0-BFB8-7F980DA45C53}"/>
          </ac:graphicFrameMkLst>
        </pc:graphicFrameChg>
        <pc:graphicFrameChg chg="add del mod replST">
          <ac:chgData name="Brito Cortés, Sofía Constanza" userId="bc780694-5ad3-4b43-9d08-68ceeeeb3a92" providerId="ADAL" clId="{78668647-0E4E-4D51-9C0E-13926B4FF229}" dt="2023-07-13T14:46:34.839" v="3519"/>
          <ac:graphicFrameMkLst>
            <pc:docMk/>
            <pc:sldMk cId="4112429752" sldId="2147472047"/>
            <ac:graphicFrameMk id="68" creationId="{A00996AC-7A64-B52D-9C5F-B0536004EB5E}"/>
          </ac:graphicFrameMkLst>
        </pc:graphicFrameChg>
        <pc:graphicFrameChg chg="add del mod replST">
          <ac:chgData name="Brito Cortés, Sofía Constanza" userId="bc780694-5ad3-4b43-9d08-68ceeeeb3a92" providerId="ADAL" clId="{78668647-0E4E-4D51-9C0E-13926B4FF229}" dt="2023-07-13T14:46:40.441" v="3658"/>
          <ac:graphicFrameMkLst>
            <pc:docMk/>
            <pc:sldMk cId="4112429752" sldId="2147472047"/>
            <ac:graphicFrameMk id="71" creationId="{2F411F7F-CAE9-D4E6-55B0-6BDF0196B14E}"/>
          </ac:graphicFrameMkLst>
        </pc:graphicFrameChg>
        <pc:graphicFrameChg chg="mod">
          <ac:chgData name="Brito Cortés, Sofía Constanza" userId="bc780694-5ad3-4b43-9d08-68ceeeeb3a92" providerId="ADAL" clId="{78668647-0E4E-4D51-9C0E-13926B4FF229}" dt="2023-07-13T14:46:40.491" v="3769"/>
          <ac:graphicFrameMkLst>
            <pc:docMk/>
            <pc:sldMk cId="4112429752" sldId="2147472047"/>
            <ac:graphicFrameMk id="72" creationId="{6B79C9EB-17DC-D15B-C3A4-6EAB4D2DA462}"/>
          </ac:graphicFrameMkLst>
        </pc:graphicFrameChg>
        <pc:graphicFrameChg chg="add mod replST">
          <ac:chgData name="Brito Cortés, Sofía Constanza" userId="bc780694-5ad3-4b43-9d08-68ceeeeb3a92" providerId="ADAL" clId="{78668647-0E4E-4D51-9C0E-13926B4FF229}" dt="2023-07-13T14:46:40.462" v="3681"/>
          <ac:graphicFrameMkLst>
            <pc:docMk/>
            <pc:sldMk cId="4112429752" sldId="2147472047"/>
            <ac:graphicFrameMk id="74" creationId="{3A8157B2-2E5B-E3C1-0ED0-CCD3901947F4}"/>
          </ac:graphicFrameMkLst>
        </pc:graphicFrameChg>
        <pc:graphicFrameChg chg="del">
          <ac:chgData name="Brito Cortés, Sofía Constanza" userId="bc780694-5ad3-4b43-9d08-68ceeeeb3a92" providerId="ADAL" clId="{78668647-0E4E-4D51-9C0E-13926B4FF229}" dt="2023-07-13T13:35:14.884" v="27"/>
          <ac:graphicFrameMkLst>
            <pc:docMk/>
            <pc:sldMk cId="4112429752" sldId="2147472047"/>
            <ac:graphicFrameMk id="76" creationId="{C9CB38C2-AC71-0B59-01BC-CBACA196ABDE}"/>
          </ac:graphicFrameMkLst>
        </pc:graphicFrameChg>
        <pc:graphicFrameChg chg="add del mod replST">
          <ac:chgData name="Brito Cortés, Sofía Constanza" userId="bc780694-5ad3-4b43-9d08-68ceeeeb3a92" providerId="ADAL" clId="{78668647-0E4E-4D51-9C0E-13926B4FF229}" dt="2023-07-13T13:35:20.329" v="173"/>
          <ac:graphicFrameMkLst>
            <pc:docMk/>
            <pc:sldMk cId="4112429752" sldId="2147472047"/>
            <ac:graphicFrameMk id="77" creationId="{5346B40C-8325-CA34-6F2A-D2B07B4B8198}"/>
          </ac:graphicFrameMkLst>
        </pc:graphicFrameChg>
        <pc:graphicFrameChg chg="add del mod replST">
          <ac:chgData name="Brito Cortés, Sofía Constanza" userId="bc780694-5ad3-4b43-9d08-68ceeeeb3a92" providerId="ADAL" clId="{78668647-0E4E-4D51-9C0E-13926B4FF229}" dt="2023-07-13T13:35:32.324" v="319"/>
          <ac:graphicFrameMkLst>
            <pc:docMk/>
            <pc:sldMk cId="4112429752" sldId="2147472047"/>
            <ac:graphicFrameMk id="78" creationId="{5FA29822-D3B5-7744-DF23-A4FD1F260ED4}"/>
          </ac:graphicFrameMkLst>
        </pc:graphicFrameChg>
        <pc:graphicFrameChg chg="add del mod replST">
          <ac:chgData name="Brito Cortés, Sofía Constanza" userId="bc780694-5ad3-4b43-9d08-68ceeeeb3a92" providerId="ADAL" clId="{78668647-0E4E-4D51-9C0E-13926B4FF229}" dt="2023-07-13T13:35:36.350" v="462"/>
          <ac:graphicFrameMkLst>
            <pc:docMk/>
            <pc:sldMk cId="4112429752" sldId="2147472047"/>
            <ac:graphicFrameMk id="79" creationId="{56572DF6-3700-5D10-76FC-D7CA425DE2E9}"/>
          </ac:graphicFrameMkLst>
        </pc:graphicFrameChg>
        <pc:graphicFrameChg chg="add del mod replST">
          <ac:chgData name="Brito Cortés, Sofía Constanza" userId="bc780694-5ad3-4b43-9d08-68ceeeeb3a92" providerId="ADAL" clId="{78668647-0E4E-4D51-9C0E-13926B4FF229}" dt="2023-07-13T13:35:42.434" v="601"/>
          <ac:graphicFrameMkLst>
            <pc:docMk/>
            <pc:sldMk cId="4112429752" sldId="2147472047"/>
            <ac:graphicFrameMk id="80" creationId="{1A4056BC-2992-D103-07F7-08B68D1EC3E3}"/>
          </ac:graphicFrameMkLst>
        </pc:graphicFrameChg>
        <pc:graphicFrameChg chg="add del mod replST">
          <ac:chgData name="Brito Cortés, Sofía Constanza" userId="bc780694-5ad3-4b43-9d08-68ceeeeb3a92" providerId="ADAL" clId="{78668647-0E4E-4D51-9C0E-13926B4FF229}" dt="2023-07-13T13:35:47.245" v="742"/>
          <ac:graphicFrameMkLst>
            <pc:docMk/>
            <pc:sldMk cId="4112429752" sldId="2147472047"/>
            <ac:graphicFrameMk id="81" creationId="{94BE7AB9-0929-2CA6-334E-E8B1BF0AD5D3}"/>
          </ac:graphicFrameMkLst>
        </pc:graphicFrameChg>
        <pc:graphicFrameChg chg="add del mod replST">
          <ac:chgData name="Brito Cortés, Sofía Constanza" userId="bc780694-5ad3-4b43-9d08-68ceeeeb3a92" providerId="ADAL" clId="{78668647-0E4E-4D51-9C0E-13926B4FF229}" dt="2023-07-13T13:35:52.986" v="884"/>
          <ac:graphicFrameMkLst>
            <pc:docMk/>
            <pc:sldMk cId="4112429752" sldId="2147472047"/>
            <ac:graphicFrameMk id="82" creationId="{8EEB8161-0156-472B-E6B2-72A5EAA7C726}"/>
          </ac:graphicFrameMkLst>
        </pc:graphicFrameChg>
        <pc:graphicFrameChg chg="add del mod replST">
          <ac:chgData name="Brito Cortés, Sofía Constanza" userId="bc780694-5ad3-4b43-9d08-68ceeeeb3a92" providerId="ADAL" clId="{78668647-0E4E-4D51-9C0E-13926B4FF229}" dt="2023-07-13T13:35:57.523" v="1024"/>
          <ac:graphicFrameMkLst>
            <pc:docMk/>
            <pc:sldMk cId="4112429752" sldId="2147472047"/>
            <ac:graphicFrameMk id="83" creationId="{37A09D1B-7A68-47DC-0534-CBD9219F2BC6}"/>
          </ac:graphicFrameMkLst>
        </pc:graphicFrameChg>
        <pc:graphicFrameChg chg="add del mod replST">
          <ac:chgData name="Brito Cortés, Sofía Constanza" userId="bc780694-5ad3-4b43-9d08-68ceeeeb3a92" providerId="ADAL" clId="{78668647-0E4E-4D51-9C0E-13926B4FF229}" dt="2023-07-13T13:36:08.389" v="1164"/>
          <ac:graphicFrameMkLst>
            <pc:docMk/>
            <pc:sldMk cId="4112429752" sldId="2147472047"/>
            <ac:graphicFrameMk id="84" creationId="{3C9C5267-5D9D-C1C4-4355-6087E5FA5074}"/>
          </ac:graphicFrameMkLst>
        </pc:graphicFrameChg>
        <pc:graphicFrameChg chg="add del mod replST">
          <ac:chgData name="Brito Cortés, Sofía Constanza" userId="bc780694-5ad3-4b43-9d08-68ceeeeb3a92" providerId="ADAL" clId="{78668647-0E4E-4D51-9C0E-13926B4FF229}" dt="2023-07-13T14:36:01.679" v="1304"/>
          <ac:graphicFrameMkLst>
            <pc:docMk/>
            <pc:sldMk cId="4112429752" sldId="2147472047"/>
            <ac:graphicFrameMk id="85" creationId="{250FF146-ED8C-3E85-F085-BC772EF8AE6D}"/>
          </ac:graphicFrameMkLst>
        </pc:graphicFrameChg>
        <pc:graphicFrameChg chg="add del mod replST">
          <ac:chgData name="Brito Cortés, Sofía Constanza" userId="bc780694-5ad3-4b43-9d08-68ceeeeb3a92" providerId="ADAL" clId="{78668647-0E4E-4D51-9C0E-13926B4FF229}" dt="2023-07-13T14:46:06.005" v="2673"/>
          <ac:graphicFrameMkLst>
            <pc:docMk/>
            <pc:sldMk cId="4112429752" sldId="2147472047"/>
            <ac:graphicFrameMk id="86" creationId="{EE7A76C0-50F0-C043-AEBF-F4347F8D19FD}"/>
          </ac:graphicFrameMkLst>
        </pc:graphicFrameChg>
        <pc:cxnChg chg="mod ord">
          <ac:chgData name="Brito Cortés, Sofía Constanza" userId="bc780694-5ad3-4b43-9d08-68ceeeeb3a92" providerId="ADAL" clId="{78668647-0E4E-4D51-9C0E-13926B4FF229}" dt="2023-07-13T14:46:40.460" v="3676"/>
          <ac:cxnSpMkLst>
            <pc:docMk/>
            <pc:sldMk cId="4112429752" sldId="2147472047"/>
            <ac:cxnSpMk id="5" creationId="{8A299F0C-81AB-2813-5E8F-63CC169D75E3}"/>
          </ac:cxnSpMkLst>
        </pc:cxnChg>
        <pc:cxnChg chg="mod ord">
          <ac:chgData name="Brito Cortés, Sofía Constanza" userId="bc780694-5ad3-4b43-9d08-68ceeeeb3a92" providerId="ADAL" clId="{78668647-0E4E-4D51-9C0E-13926B4FF229}" dt="2023-07-13T14:46:40.460" v="3674"/>
          <ac:cxnSpMkLst>
            <pc:docMk/>
            <pc:sldMk cId="4112429752" sldId="2147472047"/>
            <ac:cxnSpMk id="6" creationId="{F35AC3FA-B068-0756-1FDC-5F2BA395F2A2}"/>
          </ac:cxnSpMkLst>
        </pc:cxnChg>
        <pc:cxnChg chg="mod ord">
          <ac:chgData name="Brito Cortés, Sofía Constanza" userId="bc780694-5ad3-4b43-9d08-68ceeeeb3a92" providerId="ADAL" clId="{78668647-0E4E-4D51-9C0E-13926B4FF229}" dt="2023-07-13T14:46:40.460" v="3678"/>
          <ac:cxnSpMkLst>
            <pc:docMk/>
            <pc:sldMk cId="4112429752" sldId="2147472047"/>
            <ac:cxnSpMk id="7" creationId="{824628D7-96EE-9DB9-4ADE-0CF4488187A2}"/>
          </ac:cxnSpMkLst>
        </pc:cxnChg>
        <pc:cxnChg chg="mod ord">
          <ac:chgData name="Brito Cortés, Sofía Constanza" userId="bc780694-5ad3-4b43-9d08-68ceeeeb3a92" providerId="ADAL" clId="{78668647-0E4E-4D51-9C0E-13926B4FF229}" dt="2023-07-13T14:46:40.462" v="3680"/>
          <ac:cxnSpMkLst>
            <pc:docMk/>
            <pc:sldMk cId="4112429752" sldId="2147472047"/>
            <ac:cxnSpMk id="8" creationId="{0BC079A5-A320-18BD-6882-3A47E0D6BEF6}"/>
          </ac:cxnSpMkLst>
        </pc:cxnChg>
        <pc:cxnChg chg="mod ord">
          <ac:chgData name="Brito Cortés, Sofía Constanza" userId="bc780694-5ad3-4b43-9d08-68ceeeeb3a92" providerId="ADAL" clId="{78668647-0E4E-4D51-9C0E-13926B4FF229}" dt="2023-07-13T14:46:40.459" v="3672"/>
          <ac:cxnSpMkLst>
            <pc:docMk/>
            <pc:sldMk cId="4112429752" sldId="2147472047"/>
            <ac:cxnSpMk id="9" creationId="{E5849DBE-F448-5957-4B27-009C6D79BB4F}"/>
          </ac:cxnSpMkLst>
        </pc:cxnChg>
        <pc:cxnChg chg="mod ord">
          <ac:chgData name="Brito Cortés, Sofía Constanza" userId="bc780694-5ad3-4b43-9d08-68ceeeeb3a92" providerId="ADAL" clId="{78668647-0E4E-4D51-9C0E-13926B4FF229}" dt="2023-07-13T14:46:40.482" v="3743"/>
          <ac:cxnSpMkLst>
            <pc:docMk/>
            <pc:sldMk cId="4112429752" sldId="2147472047"/>
            <ac:cxnSpMk id="54" creationId="{0D574441-3F33-9C7F-BB05-24E9B54C9139}"/>
          </ac:cxnSpMkLst>
        </pc:cxnChg>
        <pc:cxnChg chg="mod ord">
          <ac:chgData name="Brito Cortés, Sofía Constanza" userId="bc780694-5ad3-4b43-9d08-68ceeeeb3a92" providerId="ADAL" clId="{78668647-0E4E-4D51-9C0E-13926B4FF229}" dt="2023-07-13T14:46:40.487" v="3761"/>
          <ac:cxnSpMkLst>
            <pc:docMk/>
            <pc:sldMk cId="4112429752" sldId="2147472047"/>
            <ac:cxnSpMk id="69" creationId="{C7FABC49-B3DB-47FE-9503-1AFECB2A1344}"/>
          </ac:cxnSpMkLst>
        </pc:cxnChg>
        <pc:cxnChg chg="mod ord">
          <ac:chgData name="Brito Cortés, Sofía Constanza" userId="bc780694-5ad3-4b43-9d08-68ceeeeb3a92" providerId="ADAL" clId="{78668647-0E4E-4D51-9C0E-13926B4FF229}" dt="2023-07-13T14:46:40.488" v="3765"/>
          <ac:cxnSpMkLst>
            <pc:docMk/>
            <pc:sldMk cId="4112429752" sldId="2147472047"/>
            <ac:cxnSpMk id="73" creationId="{8C05380A-9727-49F8-8964-4969C1A0BE77}"/>
          </ac:cxnSpMkLst>
        </pc:cxnChg>
      </pc:sldChg>
      <pc:sldChg chg="addSp delSp modSp mod">
        <pc:chgData name="Brito Cortés, Sofía Constanza" userId="bc780694-5ad3-4b43-9d08-68ceeeeb3a92" providerId="ADAL" clId="{78668647-0E4E-4D51-9C0E-13926B4FF229}" dt="2023-07-13T15:33:54.046" v="5434" actId="1076"/>
        <pc:sldMkLst>
          <pc:docMk/>
          <pc:sldMk cId="1385380796" sldId="2147472055"/>
        </pc:sldMkLst>
        <pc:spChg chg="mod">
          <ac:chgData name="Brito Cortés, Sofía Constanza" userId="bc780694-5ad3-4b43-9d08-68ceeeeb3a92" providerId="ADAL" clId="{78668647-0E4E-4D51-9C0E-13926B4FF229}" dt="2023-07-13T15:30:45.810" v="5407" actId="14100"/>
          <ac:spMkLst>
            <pc:docMk/>
            <pc:sldMk cId="1385380796" sldId="2147472055"/>
            <ac:spMk id="3" creationId="{9314D7BC-8012-1876-E091-A8991720254B}"/>
          </ac:spMkLst>
        </pc:spChg>
        <pc:spChg chg="add del mod">
          <ac:chgData name="Brito Cortés, Sofía Constanza" userId="bc780694-5ad3-4b43-9d08-68ceeeeb3a92" providerId="ADAL" clId="{78668647-0E4E-4D51-9C0E-13926B4FF229}" dt="2023-07-13T15:30:49.283" v="5408" actId="478"/>
          <ac:spMkLst>
            <pc:docMk/>
            <pc:sldMk cId="1385380796" sldId="2147472055"/>
            <ac:spMk id="4" creationId="{C2CD0E2A-5F33-893B-87D8-3B5F66E1BC61}"/>
          </ac:spMkLst>
        </pc:spChg>
        <pc:spChg chg="mod">
          <ac:chgData name="Brito Cortés, Sofía Constanza" userId="bc780694-5ad3-4b43-9d08-68ceeeeb3a92" providerId="ADAL" clId="{78668647-0E4E-4D51-9C0E-13926B4FF229}" dt="2023-07-13T15:33:54.046" v="5434" actId="1076"/>
          <ac:spMkLst>
            <pc:docMk/>
            <pc:sldMk cId="1385380796" sldId="2147472055"/>
            <ac:spMk id="6" creationId="{3ACA125B-C062-30BE-1121-7740234B9F92}"/>
          </ac:spMkLst>
        </pc:spChg>
      </pc:sldChg>
      <pc:sldChg chg="modSp mod">
        <pc:chgData name="Brito Cortés, Sofía Constanza" userId="bc780694-5ad3-4b43-9d08-68ceeeeb3a92" providerId="ADAL" clId="{78668647-0E4E-4D51-9C0E-13926B4FF229}" dt="2023-07-13T14:49:23.491" v="5076" actId="14100"/>
        <pc:sldMkLst>
          <pc:docMk/>
          <pc:sldMk cId="2228700247" sldId="2147472058"/>
        </pc:sldMkLst>
        <pc:spChg chg="mod">
          <ac:chgData name="Brito Cortés, Sofía Constanza" userId="bc780694-5ad3-4b43-9d08-68ceeeeb3a92" providerId="ADAL" clId="{78668647-0E4E-4D51-9C0E-13926B4FF229}" dt="2023-07-13T14:49:23.491" v="5076" actId="14100"/>
          <ac:spMkLst>
            <pc:docMk/>
            <pc:sldMk cId="2228700247" sldId="2147472058"/>
            <ac:spMk id="5" creationId="{76F56D33-FE5A-53BE-FBC1-ACB409BE4426}"/>
          </ac:spMkLst>
        </pc:spChg>
      </pc:sldChg>
      <pc:sldChg chg="addSp delSp modSp mod">
        <pc:chgData name="Brito Cortés, Sofía Constanza" userId="bc780694-5ad3-4b43-9d08-68ceeeeb3a92" providerId="ADAL" clId="{78668647-0E4E-4D51-9C0E-13926B4FF229}" dt="2023-07-13T14:58:45.507" v="5130" actId="478"/>
        <pc:sldMkLst>
          <pc:docMk/>
          <pc:sldMk cId="1581219010" sldId="2147472579"/>
        </pc:sldMkLst>
        <pc:spChg chg="mod">
          <ac:chgData name="Brito Cortés, Sofía Constanza" userId="bc780694-5ad3-4b43-9d08-68ceeeeb3a92" providerId="ADAL" clId="{78668647-0E4E-4D51-9C0E-13926B4FF229}" dt="2023-07-13T14:58:37.389" v="5128" actId="14100"/>
          <ac:spMkLst>
            <pc:docMk/>
            <pc:sldMk cId="1581219010" sldId="2147472579"/>
            <ac:spMk id="3" creationId="{00000000-0000-0000-0000-000000000000}"/>
          </ac:spMkLst>
        </pc:spChg>
        <pc:spChg chg="add del mod">
          <ac:chgData name="Brito Cortés, Sofía Constanza" userId="bc780694-5ad3-4b43-9d08-68ceeeeb3a92" providerId="ADAL" clId="{78668647-0E4E-4D51-9C0E-13926B4FF229}" dt="2023-07-13T14:58:45.507" v="5130" actId="478"/>
          <ac:spMkLst>
            <pc:docMk/>
            <pc:sldMk cId="1581219010" sldId="2147472579"/>
            <ac:spMk id="4" creationId="{B919347D-FFFD-CA66-E027-13D397252322}"/>
          </ac:spMkLst>
        </pc:spChg>
        <pc:spChg chg="mod">
          <ac:chgData name="Brito Cortés, Sofía Constanza" userId="bc780694-5ad3-4b43-9d08-68ceeeeb3a92" providerId="ADAL" clId="{78668647-0E4E-4D51-9C0E-13926B4FF229}" dt="2023-07-13T14:58:42.195" v="5129" actId="14100"/>
          <ac:spMkLst>
            <pc:docMk/>
            <pc:sldMk cId="1581219010" sldId="2147472579"/>
            <ac:spMk id="6" creationId="{8E85C523-76B0-C8C0-2EB2-1A682B98FC59}"/>
          </ac:spMkLst>
        </pc:spChg>
      </pc:sldChg>
      <pc:sldChg chg="addSp delSp modSp mod">
        <pc:chgData name="Brito Cortés, Sofía Constanza" userId="bc780694-5ad3-4b43-9d08-68ceeeeb3a92" providerId="ADAL" clId="{78668647-0E4E-4D51-9C0E-13926B4FF229}" dt="2023-07-13T15:44:14.829" v="5553" actId="478"/>
        <pc:sldMkLst>
          <pc:docMk/>
          <pc:sldMk cId="1055185935" sldId="2147472580"/>
        </pc:sldMkLst>
        <pc:spChg chg="mod">
          <ac:chgData name="Brito Cortés, Sofía Constanza" userId="bc780694-5ad3-4b43-9d08-68ceeeeb3a92" providerId="ADAL" clId="{78668647-0E4E-4D51-9C0E-13926B4FF229}" dt="2023-07-13T14:58:52.392" v="5132" actId="14100"/>
          <ac:spMkLst>
            <pc:docMk/>
            <pc:sldMk cId="1055185935" sldId="2147472580"/>
            <ac:spMk id="3" creationId="{00000000-0000-0000-0000-000000000000}"/>
          </ac:spMkLst>
        </pc:spChg>
        <pc:spChg chg="add del mod">
          <ac:chgData name="Brito Cortés, Sofía Constanza" userId="bc780694-5ad3-4b43-9d08-68ceeeeb3a92" providerId="ADAL" clId="{78668647-0E4E-4D51-9C0E-13926B4FF229}" dt="2023-07-13T14:59:01.272" v="5134" actId="478"/>
          <ac:spMkLst>
            <pc:docMk/>
            <pc:sldMk cId="1055185935" sldId="2147472580"/>
            <ac:spMk id="4" creationId="{3F3FFDDD-AA73-4F9D-9139-14F507A72655}"/>
          </ac:spMkLst>
        </pc:spChg>
        <pc:spChg chg="add del mod">
          <ac:chgData name="Brito Cortés, Sofía Constanza" userId="bc780694-5ad3-4b43-9d08-68ceeeeb3a92" providerId="ADAL" clId="{78668647-0E4E-4D51-9C0E-13926B4FF229}" dt="2023-07-13T15:44:14.829" v="5553" actId="478"/>
          <ac:spMkLst>
            <pc:docMk/>
            <pc:sldMk cId="1055185935" sldId="2147472580"/>
            <ac:spMk id="8" creationId="{59588578-2806-3F6E-CEF0-C13C58680BF7}"/>
          </ac:spMkLst>
        </pc:spChg>
      </pc:sldChg>
      <pc:sldChg chg="delSp modSp mod">
        <pc:chgData name="Brito Cortés, Sofía Constanza" userId="bc780694-5ad3-4b43-9d08-68ceeeeb3a92" providerId="ADAL" clId="{78668647-0E4E-4D51-9C0E-13926B4FF229}" dt="2023-07-13T15:44:17.838" v="5554"/>
        <pc:sldMkLst>
          <pc:docMk/>
          <pc:sldMk cId="2861664487" sldId="2147472582"/>
        </pc:sldMkLst>
        <pc:spChg chg="del">
          <ac:chgData name="Brito Cortés, Sofía Constanza" userId="bc780694-5ad3-4b43-9d08-68ceeeeb3a92" providerId="ADAL" clId="{78668647-0E4E-4D51-9C0E-13926B4FF229}" dt="2023-07-13T15:44:17.838" v="5554"/>
          <ac:spMkLst>
            <pc:docMk/>
            <pc:sldMk cId="2861664487" sldId="2147472582"/>
            <ac:spMk id="3" creationId="{91F53FF6-0BDA-6AA0-FD5B-7528989C0D59}"/>
          </ac:spMkLst>
        </pc:spChg>
        <pc:spChg chg="mod">
          <ac:chgData name="Brito Cortés, Sofía Constanza" userId="bc780694-5ad3-4b43-9d08-68ceeeeb3a92" providerId="ADAL" clId="{78668647-0E4E-4D51-9C0E-13926B4FF229}" dt="2023-07-13T14:49:52.736" v="5077" actId="207"/>
          <ac:spMkLst>
            <pc:docMk/>
            <pc:sldMk cId="2861664487" sldId="2147472582"/>
            <ac:spMk id="38" creationId="{4746C1AF-0177-46E7-B8A8-1A821220D563}"/>
          </ac:spMkLst>
        </pc:spChg>
      </pc:sldChg>
      <pc:sldChg chg="delSp">
        <pc:chgData name="Brito Cortés, Sofía Constanza" userId="bc780694-5ad3-4b43-9d08-68ceeeeb3a92" providerId="ADAL" clId="{78668647-0E4E-4D51-9C0E-13926B4FF229}" dt="2023-07-13T15:44:17.838" v="5554"/>
        <pc:sldMkLst>
          <pc:docMk/>
          <pc:sldMk cId="3391829830" sldId="2147472584"/>
        </pc:sldMkLst>
        <pc:spChg chg="del">
          <ac:chgData name="Brito Cortés, Sofía Constanza" userId="bc780694-5ad3-4b43-9d08-68ceeeeb3a92" providerId="ADAL" clId="{78668647-0E4E-4D51-9C0E-13926B4FF229}" dt="2023-07-13T15:44:17.838" v="5554"/>
          <ac:spMkLst>
            <pc:docMk/>
            <pc:sldMk cId="3391829830" sldId="2147472584"/>
            <ac:spMk id="2" creationId="{CBDA68B9-D883-5841-417E-1D98D65A80D9}"/>
          </ac:spMkLst>
        </pc:spChg>
      </pc:sldChg>
      <pc:sldChg chg="delSp">
        <pc:chgData name="Brito Cortés, Sofía Constanza" userId="bc780694-5ad3-4b43-9d08-68ceeeeb3a92" providerId="ADAL" clId="{78668647-0E4E-4D51-9C0E-13926B4FF229}" dt="2023-07-13T15:44:17.838" v="5554"/>
        <pc:sldMkLst>
          <pc:docMk/>
          <pc:sldMk cId="1959731242" sldId="2147472585"/>
        </pc:sldMkLst>
        <pc:spChg chg="del">
          <ac:chgData name="Brito Cortés, Sofía Constanza" userId="bc780694-5ad3-4b43-9d08-68ceeeeb3a92" providerId="ADAL" clId="{78668647-0E4E-4D51-9C0E-13926B4FF229}" dt="2023-07-13T15:44:17.838" v="5554"/>
          <ac:spMkLst>
            <pc:docMk/>
            <pc:sldMk cId="1959731242" sldId="2147472585"/>
            <ac:spMk id="2" creationId="{A54CEDBF-1D2D-6765-8CD7-BFBC2D3C458F}"/>
          </ac:spMkLst>
        </pc:spChg>
      </pc:sldChg>
      <pc:sldChg chg="addSp delSp modSp del mod">
        <pc:chgData name="Brito Cortés, Sofía Constanza" userId="bc780694-5ad3-4b43-9d08-68ceeeeb3a92" providerId="ADAL" clId="{78668647-0E4E-4D51-9C0E-13926B4FF229}" dt="2023-07-13T15:00:28.353" v="5317" actId="47"/>
        <pc:sldMkLst>
          <pc:docMk/>
          <pc:sldMk cId="2174871198" sldId="2147472593"/>
        </pc:sldMkLst>
        <pc:spChg chg="add del mod">
          <ac:chgData name="Brito Cortés, Sofía Constanza" userId="bc780694-5ad3-4b43-9d08-68ceeeeb3a92" providerId="ADAL" clId="{78668647-0E4E-4D51-9C0E-13926B4FF229}" dt="2023-07-13T14:59:17.058" v="5137" actId="478"/>
          <ac:spMkLst>
            <pc:docMk/>
            <pc:sldMk cId="2174871198" sldId="2147472593"/>
            <ac:spMk id="2" creationId="{609FA7B7-49C5-12ED-BC1F-F5F47C57BE71}"/>
          </ac:spMkLst>
        </pc:spChg>
        <pc:spChg chg="mod">
          <ac:chgData name="Brito Cortés, Sofía Constanza" userId="bc780694-5ad3-4b43-9d08-68ceeeeb3a92" providerId="ADAL" clId="{78668647-0E4E-4D51-9C0E-13926B4FF229}" dt="2023-07-13T14:59:10.208" v="5136" actId="14100"/>
          <ac:spMkLst>
            <pc:docMk/>
            <pc:sldMk cId="2174871198" sldId="2147472593"/>
            <ac:spMk id="16" creationId="{B91AFF71-4004-04AF-7F4F-00184F3A8AE1}"/>
          </ac:spMkLst>
        </pc:spChg>
      </pc:sldChg>
      <pc:sldChg chg="addSp delSp modSp add mod">
        <pc:chgData name="Brito Cortés, Sofía Constanza" userId="bc780694-5ad3-4b43-9d08-68ceeeeb3a92" providerId="ADAL" clId="{78668647-0E4E-4D51-9C0E-13926B4FF229}" dt="2023-07-13T15:01:43.228" v="5393" actId="14100"/>
        <pc:sldMkLst>
          <pc:docMk/>
          <pc:sldMk cId="1063732729" sldId="2147472594"/>
        </pc:sldMkLst>
        <pc:spChg chg="mod">
          <ac:chgData name="Brito Cortés, Sofía Constanza" userId="bc780694-5ad3-4b43-9d08-68ceeeeb3a92" providerId="ADAL" clId="{78668647-0E4E-4D51-9C0E-13926B4FF229}" dt="2023-07-13T15:01:20.634" v="5390" actId="14100"/>
          <ac:spMkLst>
            <pc:docMk/>
            <pc:sldMk cId="1063732729" sldId="2147472594"/>
            <ac:spMk id="5" creationId="{00000000-0000-0000-0000-000000000000}"/>
          </ac:spMkLst>
        </pc:spChg>
        <pc:spChg chg="mod">
          <ac:chgData name="Brito Cortés, Sofía Constanza" userId="bc780694-5ad3-4b43-9d08-68ceeeeb3a92" providerId="ADAL" clId="{78668647-0E4E-4D51-9C0E-13926B4FF229}" dt="2023-07-13T15:01:43.228" v="5393" actId="14100"/>
          <ac:spMkLst>
            <pc:docMk/>
            <pc:sldMk cId="1063732729" sldId="2147472594"/>
            <ac:spMk id="9" creationId="{69C3A41C-F820-0352-6504-8553680263BB}"/>
          </ac:spMkLst>
        </pc:spChg>
        <pc:spChg chg="mod">
          <ac:chgData name="Brito Cortés, Sofía Constanza" userId="bc780694-5ad3-4b43-9d08-68ceeeeb3a92" providerId="ADAL" clId="{78668647-0E4E-4D51-9C0E-13926B4FF229}" dt="2023-07-13T15:01:32.697" v="5392" actId="14100"/>
          <ac:spMkLst>
            <pc:docMk/>
            <pc:sldMk cId="1063732729" sldId="2147472594"/>
            <ac:spMk id="10" creationId="{3CBEAD6F-F1C1-7AAF-A62F-652C6D10E52E}"/>
          </ac:spMkLst>
        </pc:spChg>
        <pc:spChg chg="add del mod">
          <ac:chgData name="Brito Cortés, Sofía Constanza" userId="bc780694-5ad3-4b43-9d08-68ceeeeb3a92" providerId="ADAL" clId="{78668647-0E4E-4D51-9C0E-13926B4FF229}" dt="2023-07-13T15:01:28.445" v="5391" actId="478"/>
          <ac:spMkLst>
            <pc:docMk/>
            <pc:sldMk cId="1063732729" sldId="2147472594"/>
            <ac:spMk id="11" creationId="{149BA6E5-72E1-AC1B-C13C-2DEBC717B189}"/>
          </ac:spMkLst>
        </pc:spChg>
      </pc:sldChg>
      <pc:sldMasterChg chg="delSldLayout modSldLayout sldLayoutOrd">
        <pc:chgData name="Brito Cortés, Sofía Constanza" userId="bc780694-5ad3-4b43-9d08-68ceeeeb3a92" providerId="ADAL" clId="{78668647-0E4E-4D51-9C0E-13926B4FF229}" dt="2023-07-13T15:51:45.458" v="5563" actId="20578"/>
        <pc:sldMasterMkLst>
          <pc:docMk/>
          <pc:sldMasterMk cId="195468931" sldId="2147483648"/>
        </pc:sldMasterMkLst>
        <pc:sldLayoutChg chg="del ord">
          <pc:chgData name="Brito Cortés, Sofía Constanza" userId="bc780694-5ad3-4b43-9d08-68ceeeeb3a92" providerId="ADAL" clId="{78668647-0E4E-4D51-9C0E-13926B4FF229}" dt="2023-07-13T15:49:18.586" v="5558" actId="2696"/>
          <pc:sldLayoutMkLst>
            <pc:docMk/>
            <pc:sldMasterMk cId="195468931" sldId="2147483648"/>
            <pc:sldLayoutMk cId="924123321" sldId="2147483649"/>
          </pc:sldLayoutMkLst>
        </pc:sldLayoutChg>
        <pc:sldLayoutChg chg="modSp mod">
          <pc:chgData name="Brito Cortés, Sofía Constanza" userId="bc780694-5ad3-4b43-9d08-68ceeeeb3a92" providerId="ADAL" clId="{78668647-0E4E-4D51-9C0E-13926B4FF229}" dt="2023-07-13T15:50:03.660" v="5560" actId="5793"/>
          <pc:sldLayoutMkLst>
            <pc:docMk/>
            <pc:sldMasterMk cId="195468931" sldId="2147483648"/>
            <pc:sldLayoutMk cId="839351526" sldId="2147483652"/>
          </pc:sldLayoutMkLst>
          <pc:spChg chg="mod">
            <ac:chgData name="Brito Cortés, Sofía Constanza" userId="bc780694-5ad3-4b43-9d08-68ceeeeb3a92" providerId="ADAL" clId="{78668647-0E4E-4D51-9C0E-13926B4FF229}" dt="2023-07-13T15:50:03.660" v="5560" actId="5793"/>
            <ac:spMkLst>
              <pc:docMk/>
              <pc:sldMasterMk cId="195468931" sldId="2147483648"/>
              <pc:sldLayoutMk cId="839351526" sldId="2147483652"/>
              <ac:spMk id="4" creationId="{00000000-0000-0000-0000-000000000000}"/>
            </ac:spMkLst>
          </pc:spChg>
        </pc:sldLayoutChg>
        <pc:sldLayoutChg chg="modSp mod">
          <pc:chgData name="Brito Cortés, Sofía Constanza" userId="bc780694-5ad3-4b43-9d08-68ceeeeb3a92" providerId="ADAL" clId="{78668647-0E4E-4D51-9C0E-13926B4FF229}" dt="2023-07-13T15:50:25.339" v="5562" actId="14100"/>
          <pc:sldLayoutMkLst>
            <pc:docMk/>
            <pc:sldMasterMk cId="195468931" sldId="2147483648"/>
            <pc:sldLayoutMk cId="2764344850" sldId="2147483658"/>
          </pc:sldLayoutMkLst>
          <pc:spChg chg="mod">
            <ac:chgData name="Brito Cortés, Sofía Constanza" userId="bc780694-5ad3-4b43-9d08-68ceeeeb3a92" providerId="ADAL" clId="{78668647-0E4E-4D51-9C0E-13926B4FF229}" dt="2023-07-13T15:50:21.484" v="5561" actId="14100"/>
            <ac:spMkLst>
              <pc:docMk/>
              <pc:sldMasterMk cId="195468931" sldId="2147483648"/>
              <pc:sldLayoutMk cId="2764344850" sldId="2147483658"/>
              <ac:spMk id="8" creationId="{359D21D7-380C-F4B2-4834-98816DBD5590}"/>
            </ac:spMkLst>
          </pc:spChg>
          <pc:spChg chg="mod">
            <ac:chgData name="Brito Cortés, Sofía Constanza" userId="bc780694-5ad3-4b43-9d08-68ceeeeb3a92" providerId="ADAL" clId="{78668647-0E4E-4D51-9C0E-13926B4FF229}" dt="2023-07-13T15:50:25.339" v="5562" actId="14100"/>
            <ac:spMkLst>
              <pc:docMk/>
              <pc:sldMasterMk cId="195468931" sldId="2147483648"/>
              <pc:sldLayoutMk cId="2764344850" sldId="2147483658"/>
              <ac:spMk id="10" creationId="{91900A05-BCAC-D961-2A18-DB1AFF8D3320}"/>
            </ac:spMkLst>
          </pc:spChg>
        </pc:sldLayoutChg>
        <pc:sldLayoutChg chg="ord">
          <pc:chgData name="Brito Cortés, Sofía Constanza" userId="bc780694-5ad3-4b43-9d08-68ceeeeb3a92" providerId="ADAL" clId="{78668647-0E4E-4D51-9C0E-13926B4FF229}" dt="2023-07-13T15:51:45.458" v="5563" actId="20578"/>
          <pc:sldLayoutMkLst>
            <pc:docMk/>
            <pc:sldMasterMk cId="195468931" sldId="2147483648"/>
            <pc:sldLayoutMk cId="2752245890" sldId="2147483660"/>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xmlns="" id="{6B2790E3-B6ED-E7E6-5D07-82843B3EC0B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a:extLst>
              <a:ext uri="{FF2B5EF4-FFF2-40B4-BE49-F238E27FC236}">
                <a16:creationId xmlns:a16="http://schemas.microsoft.com/office/drawing/2014/main" xmlns="" id="{EE3A19C9-0F57-6475-631F-884B0E5B7A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FF8599-7029-4CF8-95BC-169911F75AAA}" type="datetimeFigureOut">
              <a:rPr lang="es-CL" smtClean="0"/>
              <a:t>04-02-2025</a:t>
            </a:fld>
            <a:endParaRPr lang="es-CL"/>
          </a:p>
        </p:txBody>
      </p:sp>
      <p:sp>
        <p:nvSpPr>
          <p:cNvPr id="4" name="Marcador de pie de página 3">
            <a:extLst>
              <a:ext uri="{FF2B5EF4-FFF2-40B4-BE49-F238E27FC236}">
                <a16:creationId xmlns:a16="http://schemas.microsoft.com/office/drawing/2014/main" xmlns="" id="{9866CBB2-CE96-B313-C552-1177FE96E0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5" name="Marcador de número de diapositiva 4">
            <a:extLst>
              <a:ext uri="{FF2B5EF4-FFF2-40B4-BE49-F238E27FC236}">
                <a16:creationId xmlns:a16="http://schemas.microsoft.com/office/drawing/2014/main" xmlns="" id="{99EE2CCB-AE9F-49E3-9066-A616DDDDC4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7272DF-830D-4E4A-A62B-81CF43A0216D}" type="slidenum">
              <a:rPr lang="es-CL" smtClean="0"/>
              <a:t>‹Nº›</a:t>
            </a:fld>
            <a:endParaRPr lang="es-CL"/>
          </a:p>
        </p:txBody>
      </p:sp>
    </p:spTree>
    <p:extLst>
      <p:ext uri="{BB962C8B-B14F-4D97-AF65-F5344CB8AC3E}">
        <p14:creationId xmlns:p14="http://schemas.microsoft.com/office/powerpoint/2010/main" val="1956743239"/>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F30DF6-1775-470B-AB63-2D0DB4F8C554}" type="datetimeFigureOut">
              <a:rPr lang="es-CL" smtClean="0"/>
              <a:t>04-02-2025</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7F3A76-3C4B-46A8-9478-22DCFEA7A812}" type="slidenum">
              <a:rPr lang="es-CL" smtClean="0"/>
              <a:t>‹Nº›</a:t>
            </a:fld>
            <a:endParaRPr lang="es-CL"/>
          </a:p>
        </p:txBody>
      </p:sp>
    </p:spTree>
    <p:extLst>
      <p:ext uri="{BB962C8B-B14F-4D97-AF65-F5344CB8AC3E}">
        <p14:creationId xmlns:p14="http://schemas.microsoft.com/office/powerpoint/2010/main" val="333780973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1</a:t>
            </a:fld>
            <a:endParaRPr lang="es-CL" dirty="0"/>
          </a:p>
        </p:txBody>
      </p:sp>
    </p:spTree>
    <p:extLst>
      <p:ext uri="{BB962C8B-B14F-4D97-AF65-F5344CB8AC3E}">
        <p14:creationId xmlns:p14="http://schemas.microsoft.com/office/powerpoint/2010/main" val="33765686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10"/>
          </p:nvPr>
        </p:nvSpPr>
        <p:spPr/>
        <p:txBody>
          <a:bodyPr/>
          <a:lstStyle/>
          <a:p>
            <a:endParaRPr lang="es-CL" dirty="0"/>
          </a:p>
        </p:txBody>
      </p:sp>
      <p:sp>
        <p:nvSpPr>
          <p:cNvPr id="5" name="Marcador de número de diapositiva 4"/>
          <p:cNvSpPr>
            <a:spLocks noGrp="1"/>
          </p:cNvSpPr>
          <p:nvPr>
            <p:ph type="sldNum" sz="quarter" idx="11"/>
          </p:nvPr>
        </p:nvSpPr>
        <p:spPr/>
        <p:txBody>
          <a:bodyPr/>
          <a:lstStyle/>
          <a:p>
            <a:fld id="{EE7F3A76-3C4B-46A8-9478-22DCFEA7A812}" type="slidenum">
              <a:rPr lang="es-CL" smtClean="0"/>
              <a:t>2</a:t>
            </a:fld>
            <a:endParaRPr lang="es-CL" dirty="0"/>
          </a:p>
        </p:txBody>
      </p:sp>
    </p:spTree>
    <p:extLst>
      <p:ext uri="{BB962C8B-B14F-4D97-AF65-F5344CB8AC3E}">
        <p14:creationId xmlns:p14="http://schemas.microsoft.com/office/powerpoint/2010/main" val="10370716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3</a:t>
            </a:fld>
            <a:endParaRPr lang="es-CL" dirty="0"/>
          </a:p>
        </p:txBody>
      </p:sp>
    </p:spTree>
    <p:extLst>
      <p:ext uri="{BB962C8B-B14F-4D97-AF65-F5344CB8AC3E}">
        <p14:creationId xmlns:p14="http://schemas.microsoft.com/office/powerpoint/2010/main" val="10993423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4</a:t>
            </a:fld>
            <a:endParaRPr lang="es-CL" dirty="0"/>
          </a:p>
        </p:txBody>
      </p:sp>
    </p:spTree>
    <p:extLst>
      <p:ext uri="{BB962C8B-B14F-4D97-AF65-F5344CB8AC3E}">
        <p14:creationId xmlns:p14="http://schemas.microsoft.com/office/powerpoint/2010/main" val="24363769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13</a:t>
            </a:fld>
            <a:endParaRPr lang="es-CL" dirty="0"/>
          </a:p>
        </p:txBody>
      </p:sp>
    </p:spTree>
    <p:extLst>
      <p:ext uri="{BB962C8B-B14F-4D97-AF65-F5344CB8AC3E}">
        <p14:creationId xmlns:p14="http://schemas.microsoft.com/office/powerpoint/2010/main" val="24456294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14</a:t>
            </a:fld>
            <a:endParaRPr lang="es-CL" dirty="0"/>
          </a:p>
        </p:txBody>
      </p:sp>
    </p:spTree>
    <p:extLst>
      <p:ext uri="{BB962C8B-B14F-4D97-AF65-F5344CB8AC3E}">
        <p14:creationId xmlns:p14="http://schemas.microsoft.com/office/powerpoint/2010/main" val="27249449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15</a:t>
            </a:fld>
            <a:endParaRPr lang="es-CL" dirty="0"/>
          </a:p>
        </p:txBody>
      </p:sp>
    </p:spTree>
    <p:extLst>
      <p:ext uri="{BB962C8B-B14F-4D97-AF65-F5344CB8AC3E}">
        <p14:creationId xmlns:p14="http://schemas.microsoft.com/office/powerpoint/2010/main" val="1514302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16</a:t>
            </a:fld>
            <a:endParaRPr lang="es-CL" dirty="0"/>
          </a:p>
        </p:txBody>
      </p:sp>
    </p:spTree>
    <p:extLst>
      <p:ext uri="{BB962C8B-B14F-4D97-AF65-F5344CB8AC3E}">
        <p14:creationId xmlns:p14="http://schemas.microsoft.com/office/powerpoint/2010/main" val="320206673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7.png"/><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Portada 1">
    <p:bg>
      <p:bgPr>
        <a:solidFill>
          <a:schemeClr val="tx2"/>
        </a:solidFill>
        <a:effectLst/>
      </p:bgPr>
    </p:bg>
    <p:spTree>
      <p:nvGrpSpPr>
        <p:cNvPr id="1" name=""/>
        <p:cNvGrpSpPr/>
        <p:nvPr/>
      </p:nvGrpSpPr>
      <p:grpSpPr>
        <a:xfrm>
          <a:off x="0" y="0"/>
          <a:ext cx="0" cy="0"/>
          <a:chOff x="0" y="0"/>
          <a:chExt cx="0" cy="0"/>
        </a:xfrm>
      </p:grpSpPr>
      <p:sp>
        <p:nvSpPr>
          <p:cNvPr id="4" name="Marcador de posición de imagen 3"/>
          <p:cNvSpPr>
            <a:spLocks noGrp="1"/>
          </p:cNvSpPr>
          <p:nvPr>
            <p:ph type="pic" sz="quarter" idx="18"/>
          </p:nvPr>
        </p:nvSpPr>
        <p:spPr>
          <a:xfrm>
            <a:off x="-1" y="0"/>
            <a:ext cx="10564597" cy="6858000"/>
          </a:xfrm>
          <a:prstGeom prst="rect">
            <a:avLst/>
          </a:prstGeom>
        </p:spPr>
        <p:txBody>
          <a:bodyPr/>
          <a:lstStyle>
            <a:lvl1pPr marL="0" indent="0">
              <a:buNone/>
              <a:defRPr baseline="0"/>
            </a:lvl1pPr>
          </a:lstStyle>
          <a:p>
            <a:endParaRPr lang="es-CL" dirty="0"/>
          </a:p>
        </p:txBody>
      </p:sp>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11" name="Diapositiva de think-cell" r:id="rId5" imgW="7772400" imgH="10058400" progId="TCLayout.ActiveDocument.1">
                  <p:embed/>
                </p:oleObj>
              </mc:Choice>
              <mc:Fallback>
                <p:oleObj name="Diapositiva de think-cell" r:id="rId5"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xmlns="" id="{20BE0170-29F6-464B-92DA-5BCC02F07744}"/>
              </a:ext>
            </a:extLst>
          </p:cNvPr>
          <p:cNvSpPr>
            <a:spLocks noGrp="1"/>
          </p:cNvSpPr>
          <p:nvPr>
            <p:ph type="body" sz="quarter" idx="16" hasCustomPrompt="1"/>
          </p:nvPr>
        </p:nvSpPr>
        <p:spPr>
          <a:xfrm>
            <a:off x="10894936" y="6307024"/>
            <a:ext cx="1039662" cy="504365"/>
          </a:xfrm>
          <a:prstGeom prst="rect">
            <a:avLst/>
          </a:prstGeom>
        </p:spPr>
        <p:txBody>
          <a:bodyPr lIns="0" tIns="0" rIns="0" bIns="0"/>
          <a:lstStyle>
            <a:lvl1pPr marL="0" indent="0">
              <a:buNone/>
              <a:defRPr sz="1000" b="0" u="none">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echa</a:t>
            </a:r>
            <a:endParaRPr lang="es-CL" dirty="0"/>
          </a:p>
        </p:txBody>
      </p:sp>
      <p:sp>
        <p:nvSpPr>
          <p:cNvPr id="35" name="Marcador de texto 7">
            <a:extLst>
              <a:ext uri="{FF2B5EF4-FFF2-40B4-BE49-F238E27FC236}">
                <a16:creationId xmlns:a16="http://schemas.microsoft.com/office/drawing/2014/main" xmlns="" id="{D7DF378A-026C-4225-AFB3-233ADAFEB278}"/>
              </a:ext>
            </a:extLst>
          </p:cNvPr>
          <p:cNvSpPr>
            <a:spLocks noGrp="1"/>
          </p:cNvSpPr>
          <p:nvPr>
            <p:ph type="body" sz="quarter" idx="17" hasCustomPrompt="1"/>
          </p:nvPr>
        </p:nvSpPr>
        <p:spPr>
          <a:xfrm>
            <a:off x="454085" y="4957143"/>
            <a:ext cx="4989786" cy="1143412"/>
          </a:xfrm>
          <a:prstGeom prst="rect">
            <a:avLst/>
          </a:prstGeom>
        </p:spPr>
        <p:txBody>
          <a:bodyPr lIns="0" tIns="0" rIns="0" bIns="0"/>
          <a:lstStyle>
            <a:lvl1pPr marL="0" indent="0">
              <a:spcBef>
                <a:spcPts val="0"/>
              </a:spcBef>
              <a:buNone/>
              <a:defRPr sz="3000" b="1">
                <a:solidFill>
                  <a:schemeClr val="bg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t>
            </a:r>
            <a:br>
              <a:rPr lang="es-ES" dirty="0"/>
            </a:br>
            <a:r>
              <a:rPr lang="es-ES" dirty="0"/>
              <a:t>Arial Bold - 30 puntos</a:t>
            </a:r>
            <a:endParaRPr lang="es-CL" dirty="0"/>
          </a:p>
        </p:txBody>
      </p:sp>
      <p:pic>
        <p:nvPicPr>
          <p:cNvPr id="3" name="Gráfico 2">
            <a:extLst>
              <a:ext uri="{FF2B5EF4-FFF2-40B4-BE49-F238E27FC236}">
                <a16:creationId xmlns:a16="http://schemas.microsoft.com/office/drawing/2014/main" xmlns="" id="{6684D6C2-8FED-B52F-0DE2-7AC39638A0FF}"/>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10884657" y="407975"/>
            <a:ext cx="987281" cy="1557134"/>
          </a:xfrm>
          <a:prstGeom prst="rect">
            <a:avLst/>
          </a:prstGeom>
        </p:spPr>
      </p:pic>
    </p:spTree>
    <p:custDataLst>
      <p:tags r:id="rId2"/>
    </p:custDataLst>
    <p:extLst>
      <p:ext uri="{BB962C8B-B14F-4D97-AF65-F5344CB8AC3E}">
        <p14:creationId xmlns:p14="http://schemas.microsoft.com/office/powerpoint/2010/main" val="839351526"/>
      </p:ext>
    </p:extLst>
  </p:cSld>
  <p:clrMapOvr>
    <a:overrideClrMapping bg1="lt1" tx1="dk1" bg2="lt2" tx2="dk2" accent1="accent1" accent2="accent2" accent3="accent3" accent4="accent4" accent5="accent5" accent6="accent6" hlink="hlink" folHlink="folHlink"/>
  </p:clrMapOvr>
  <p:transition spd="med"/>
  <p:extLst mod="1">
    <p:ext uri="{DCECCB84-F9BA-43D5-87BE-67443E8EF086}">
      <p15:sldGuideLst xmlns:p15="http://schemas.microsoft.com/office/powerpoint/2012/main">
        <p15:guide id="1" pos="658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1FDD8CC-7D23-574F-832E-026B7C97180D}"/>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C5EE044A-675D-ED4C-A767-9BC712FA195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61BA5BFD-9126-B440-90F1-F47A6259064F}"/>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12731A68-3B59-8C40-AFDF-CCAB350FF117}"/>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251D325D-637D-9649-ADB0-A863497477FB}"/>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5720386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17A881FB-4F42-8046-ABC6-B04A53866E0B}"/>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B62BF278-7035-F148-AFCF-4FA196416ED3}"/>
              </a:ext>
            </a:extLst>
          </p:cNvPr>
          <p:cNvSpPr>
            <a:spLocks noGrp="1"/>
          </p:cNvSpPr>
          <p:nvPr>
            <p:ph sz="half" idx="1"/>
          </p:nvPr>
        </p:nvSpPr>
        <p:spPr>
          <a:xfrm>
            <a:off x="838200" y="1825625"/>
            <a:ext cx="5181600" cy="4351338"/>
          </a:xfrm>
        </p:spPr>
        <p:txBody>
          <a:body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xmlns="" id="{FCA97817-07AA-5E4B-97F1-F783A4A740D7}"/>
              </a:ext>
            </a:extLst>
          </p:cNvPr>
          <p:cNvSpPr>
            <a:spLocks noGrp="1"/>
          </p:cNvSpPr>
          <p:nvPr>
            <p:ph sz="half" idx="2"/>
          </p:nvPr>
        </p:nvSpPr>
        <p:spPr>
          <a:xfrm>
            <a:off x="6172200" y="1825625"/>
            <a:ext cx="5181600" cy="4351338"/>
          </a:xfrm>
        </p:spPr>
        <p:txBody>
          <a:body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1EDC9D8F-2F49-EA47-AA74-DD02ACE0F072}"/>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4A3E329F-D94A-0A44-AC1D-F3C7944AE39C}"/>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6F475A9C-0876-284E-8D0F-C653941FA731}"/>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5478714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AB87EF9-D2CA-1F40-85B8-4D5B5EA77898}"/>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2F78C959-5C05-5A42-B241-D5C7245124C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xmlns="" id="{201F5C5C-CFA9-8947-9E7F-EAEF055FB92C}"/>
              </a:ext>
            </a:extLst>
          </p:cNvPr>
          <p:cNvSpPr>
            <a:spLocks noGrp="1"/>
          </p:cNvSpPr>
          <p:nvPr>
            <p:ph sz="half" idx="2"/>
          </p:nvPr>
        </p:nvSpPr>
        <p:spPr>
          <a:xfrm>
            <a:off x="839788" y="2505075"/>
            <a:ext cx="5157787" cy="3684588"/>
          </a:xfrm>
        </p:spPr>
        <p:txBody>
          <a:bodyPr/>
          <a:lstStyle/>
          <a:p>
            <a:r>
              <a:rPr lang="es-ES"/>
              <a:t>Editar los estilos de texto del patrón
Segundo nivel
Tercer nivel
Cuarto nivel
Quinto nivel</a:t>
            </a:r>
            <a:endParaRPr lang="es-CL"/>
          </a:p>
        </p:txBody>
      </p:sp>
      <p:sp>
        <p:nvSpPr>
          <p:cNvPr id="5" name="Marcador de texto 4">
            <a:extLst>
              <a:ext uri="{FF2B5EF4-FFF2-40B4-BE49-F238E27FC236}">
                <a16:creationId xmlns:a16="http://schemas.microsoft.com/office/drawing/2014/main" xmlns="" id="{62A23890-50DA-BF48-BF51-6D023D6F562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ES"/>
              <a:t>Editar los estilos de texto del patrón
Segundo nivel
Tercer nivel
Cuarto nivel
Quinto nivel</a:t>
            </a:r>
            <a:endParaRPr lang="es-CL"/>
          </a:p>
        </p:txBody>
      </p:sp>
      <p:sp>
        <p:nvSpPr>
          <p:cNvPr id="6" name="Marcador de contenido 5">
            <a:extLst>
              <a:ext uri="{FF2B5EF4-FFF2-40B4-BE49-F238E27FC236}">
                <a16:creationId xmlns:a16="http://schemas.microsoft.com/office/drawing/2014/main" xmlns="" id="{2669B336-F8D7-1244-9AEF-B3D4CF221F2E}"/>
              </a:ext>
            </a:extLst>
          </p:cNvPr>
          <p:cNvSpPr>
            <a:spLocks noGrp="1"/>
          </p:cNvSpPr>
          <p:nvPr>
            <p:ph sz="quarter" idx="4"/>
          </p:nvPr>
        </p:nvSpPr>
        <p:spPr>
          <a:xfrm>
            <a:off x="6172200" y="2505075"/>
            <a:ext cx="5183188" cy="3684588"/>
          </a:xfrm>
        </p:spPr>
        <p:txBody>
          <a:bodyPr/>
          <a:lstStyle/>
          <a:p>
            <a:r>
              <a:rPr lang="es-ES"/>
              <a:t>Editar los estilos de texto del patrón
Segundo nivel
Tercer nivel
Cuarto nivel
Quinto nivel</a:t>
            </a:r>
            <a:endParaRPr lang="es-CL"/>
          </a:p>
        </p:txBody>
      </p:sp>
      <p:sp>
        <p:nvSpPr>
          <p:cNvPr id="7" name="Marcador de fecha 6">
            <a:extLst>
              <a:ext uri="{FF2B5EF4-FFF2-40B4-BE49-F238E27FC236}">
                <a16:creationId xmlns:a16="http://schemas.microsoft.com/office/drawing/2014/main" xmlns="" id="{0EDC099B-DF1B-2449-9A08-9318A4FD2886}"/>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8" name="Marcador de pie de página 7">
            <a:extLst>
              <a:ext uri="{FF2B5EF4-FFF2-40B4-BE49-F238E27FC236}">
                <a16:creationId xmlns:a16="http://schemas.microsoft.com/office/drawing/2014/main" xmlns="" id="{75F737D9-C32F-2346-A5CA-E61781AC72E2}"/>
              </a:ext>
            </a:extLst>
          </p:cNvPr>
          <p:cNvSpPr>
            <a:spLocks noGrp="1"/>
          </p:cNvSpPr>
          <p:nvPr>
            <p:ph type="ftr" sz="quarter" idx="11"/>
          </p:nvPr>
        </p:nvSpPr>
        <p:spPr/>
        <p:txBody>
          <a:bodyPr/>
          <a:lstStyle/>
          <a:p>
            <a:endParaRPr lang="es-CL">
              <a:solidFill>
                <a:prstClr val="black">
                  <a:tint val="75000"/>
                </a:prstClr>
              </a:solidFill>
            </a:endParaRPr>
          </a:p>
        </p:txBody>
      </p:sp>
      <p:sp>
        <p:nvSpPr>
          <p:cNvPr id="9" name="Marcador de número de diapositiva 8">
            <a:extLst>
              <a:ext uri="{FF2B5EF4-FFF2-40B4-BE49-F238E27FC236}">
                <a16:creationId xmlns:a16="http://schemas.microsoft.com/office/drawing/2014/main" xmlns="" id="{A1704B97-9C58-804B-8BDF-B18CF564C53D}"/>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7486356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5F8977A6-5208-D946-973F-FD471EA08A56}"/>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fecha 2">
            <a:extLst>
              <a:ext uri="{FF2B5EF4-FFF2-40B4-BE49-F238E27FC236}">
                <a16:creationId xmlns:a16="http://schemas.microsoft.com/office/drawing/2014/main" xmlns="" id="{31CC0EF0-3CAD-9D41-8E5E-8E9F5E30559D}"/>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4" name="Marcador de pie de página 3">
            <a:extLst>
              <a:ext uri="{FF2B5EF4-FFF2-40B4-BE49-F238E27FC236}">
                <a16:creationId xmlns:a16="http://schemas.microsoft.com/office/drawing/2014/main" xmlns="" id="{639BA876-8B0B-7F41-9383-7EA4CF6AEAD8}"/>
              </a:ext>
            </a:extLst>
          </p:cNvPr>
          <p:cNvSpPr>
            <a:spLocks noGrp="1"/>
          </p:cNvSpPr>
          <p:nvPr>
            <p:ph type="ftr" sz="quarter" idx="11"/>
          </p:nvPr>
        </p:nvSpPr>
        <p:spPr/>
        <p:txBody>
          <a:bodyPr/>
          <a:lstStyle/>
          <a:p>
            <a:endParaRPr lang="es-CL">
              <a:solidFill>
                <a:prstClr val="black">
                  <a:tint val="75000"/>
                </a:prstClr>
              </a:solidFill>
            </a:endParaRPr>
          </a:p>
        </p:txBody>
      </p:sp>
      <p:sp>
        <p:nvSpPr>
          <p:cNvPr id="5" name="Marcador de número de diapositiva 4">
            <a:extLst>
              <a:ext uri="{FF2B5EF4-FFF2-40B4-BE49-F238E27FC236}">
                <a16:creationId xmlns:a16="http://schemas.microsoft.com/office/drawing/2014/main" xmlns="" id="{DDEC1E57-3812-B243-8646-D1D2C1A1766B}"/>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5440078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xmlns="" id="{BD45F530-C227-BA42-AB23-739B64D07C18}"/>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3" name="Marcador de pie de página 2">
            <a:extLst>
              <a:ext uri="{FF2B5EF4-FFF2-40B4-BE49-F238E27FC236}">
                <a16:creationId xmlns:a16="http://schemas.microsoft.com/office/drawing/2014/main" xmlns="" id="{B554A6B6-6BFD-044B-A1BD-94AE28B5FA9D}"/>
              </a:ext>
            </a:extLst>
          </p:cNvPr>
          <p:cNvSpPr>
            <a:spLocks noGrp="1"/>
          </p:cNvSpPr>
          <p:nvPr>
            <p:ph type="ftr" sz="quarter" idx="11"/>
          </p:nvPr>
        </p:nvSpPr>
        <p:spPr/>
        <p:txBody>
          <a:bodyPr/>
          <a:lstStyle/>
          <a:p>
            <a:endParaRPr lang="es-CL">
              <a:solidFill>
                <a:prstClr val="black">
                  <a:tint val="75000"/>
                </a:prstClr>
              </a:solidFill>
            </a:endParaRPr>
          </a:p>
        </p:txBody>
      </p:sp>
      <p:sp>
        <p:nvSpPr>
          <p:cNvPr id="4" name="Marcador de número de diapositiva 3">
            <a:extLst>
              <a:ext uri="{FF2B5EF4-FFF2-40B4-BE49-F238E27FC236}">
                <a16:creationId xmlns:a16="http://schemas.microsoft.com/office/drawing/2014/main" xmlns="" id="{E9094E48-E8C6-FB4D-BF96-987F5B77B906}"/>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5636301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F24450B-F42B-FB4D-89A9-CA59CC3E3900}"/>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53E39D99-AAAB-4145-A36D-C8F424A998E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s-ES"/>
              <a:t>Editar los estilos de texto del patrón
Segundo nivel
Tercer nivel
Cuarto nivel
Quinto nivel</a:t>
            </a:r>
            <a:endParaRPr lang="es-CL"/>
          </a:p>
        </p:txBody>
      </p:sp>
      <p:sp>
        <p:nvSpPr>
          <p:cNvPr id="4" name="Marcador de texto 3">
            <a:extLst>
              <a:ext uri="{FF2B5EF4-FFF2-40B4-BE49-F238E27FC236}">
                <a16:creationId xmlns:a16="http://schemas.microsoft.com/office/drawing/2014/main" xmlns="" id="{D69F24E0-BBF4-CC49-B05E-FACC0CEA549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806DF0AF-C098-5B48-829D-DB56DAD24D00}"/>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B13E2C68-9F65-2F48-BDAA-BF825D3174DA}"/>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4D7BD95A-BA1D-F445-8878-128B3761C738}"/>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40296907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EE313084-ED99-9E4D-BE6C-2CE06565205C}"/>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posición de imagen 2">
            <a:extLst>
              <a:ext uri="{FF2B5EF4-FFF2-40B4-BE49-F238E27FC236}">
                <a16:creationId xmlns:a16="http://schemas.microsoft.com/office/drawing/2014/main" xmlns="" id="{8F3066EA-AB7D-814F-8929-75A7F98C1ED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L"/>
          </a:p>
        </p:txBody>
      </p:sp>
      <p:sp>
        <p:nvSpPr>
          <p:cNvPr id="4" name="Marcador de texto 3">
            <a:extLst>
              <a:ext uri="{FF2B5EF4-FFF2-40B4-BE49-F238E27FC236}">
                <a16:creationId xmlns:a16="http://schemas.microsoft.com/office/drawing/2014/main" xmlns="" id="{C8449CCE-225C-284F-846D-5AC4E78A7C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30D8D557-0D49-EC48-A3B7-15D7C5C9259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E1D28889-5E0B-9147-ABC2-A94291DD8EAE}"/>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8DB87C00-1C7E-584F-89FD-D7F418C4E39A}"/>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3397138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75CA2BA3-7E7A-6042-9A7D-C221AEDC8089}"/>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6407B4BC-AFE8-3341-B25E-9E072D02B9AC}"/>
              </a:ext>
            </a:extLst>
          </p:cNvPr>
          <p:cNvSpPr>
            <a:spLocks noGrp="1"/>
          </p:cNvSpPr>
          <p:nvPr>
            <p:ph type="body" orient="vert" idx="1"/>
          </p:nvPr>
        </p:nvSpPr>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36FFC573-089B-E647-AFE6-37263961C6E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DA080199-4A5D-7049-B631-4AA803EB2C26}"/>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65DCC475-665A-E44B-AFDB-9E3FFD824663}"/>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1285245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xmlns="" id="{AE300FBC-0B96-604A-8C1A-82366ED1FE57}"/>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9CDD020B-FC82-8A4C-842D-35FC3DCBB7D6}"/>
              </a:ext>
            </a:extLst>
          </p:cNvPr>
          <p:cNvSpPr>
            <a:spLocks noGrp="1"/>
          </p:cNvSpPr>
          <p:nvPr>
            <p:ph type="body" orient="vert" idx="1"/>
          </p:nvPr>
        </p:nvSpPr>
        <p:spPr>
          <a:xfrm>
            <a:off x="838200" y="365125"/>
            <a:ext cx="7734300" cy="5811838"/>
          </a:xfrm>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20F747D2-B59F-5E4D-B65E-F47D39459A8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63D477E8-49AB-FF4B-8553-D73F13CB6897}"/>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035512FF-35ED-1C44-ADB9-F8DF8881FF85}"/>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3161369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7 portada simple v2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286"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6757865"/>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Solo texto y bullets">
    <p:spTree>
      <p:nvGrpSpPr>
        <p:cNvPr id="1" name=""/>
        <p:cNvGrpSpPr/>
        <p:nvPr/>
      </p:nvGrpSpPr>
      <p:grpSpPr>
        <a:xfrm>
          <a:off x="0" y="0"/>
          <a:ext cx="0" cy="0"/>
          <a:chOff x="0" y="0"/>
          <a:chExt cx="0" cy="0"/>
        </a:xfrm>
      </p:grpSpPr>
      <p:sp>
        <p:nvSpPr>
          <p:cNvPr id="13" name="Marcador de texto 4">
            <a:extLst>
              <a:ext uri="{FF2B5EF4-FFF2-40B4-BE49-F238E27FC236}">
                <a16:creationId xmlns:a16="http://schemas.microsoft.com/office/drawing/2014/main" xmlns="" id="{0F855893-C32C-4FEA-A235-92BF0A898ADA}"/>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a:solidFill>
                  <a:schemeClr val="accent3">
                    <a:lumMod val="75000"/>
                    <a:lumOff val="25000"/>
                  </a:schemeClr>
                </a:solidFill>
              </a:defRPr>
            </a:lvl1pPr>
            <a:lvl2pPr marL="590550" indent="-285750">
              <a:spcBef>
                <a:spcPts val="600"/>
              </a:spcBef>
              <a:spcAft>
                <a:spcPts val="600"/>
              </a:spcAft>
              <a:buClr>
                <a:schemeClr val="accent1"/>
              </a:buClr>
              <a:buSzPct val="100000"/>
              <a:buFont typeface="Arial" panose="020B0604020202020204" pitchFamily="34" charset="0"/>
              <a:buChar char="•"/>
              <a:tabLst/>
              <a:defRPr sz="1400">
                <a:solidFill>
                  <a:schemeClr val="accent3">
                    <a:lumMod val="75000"/>
                    <a:lumOff val="25000"/>
                  </a:schemeClr>
                </a:solidFill>
              </a:defRPr>
            </a:lvl2pPr>
            <a:lvl3pPr marL="8953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3pPr>
            <a:lvl4pPr marL="12001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4pPr>
            <a:lvl5pPr marL="15049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a16="http://schemas.microsoft.com/office/drawing/2014/main" xmlns="" id="{703E2759-6EFD-9528-5014-B5B857D70474}"/>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a16="http://schemas.microsoft.com/office/drawing/2014/main" xmlns="" id="{7148B77E-AECB-2D4A-7BD3-666426DD69B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4" name="Marcador de texto 7">
            <a:extLst>
              <a:ext uri="{FF2B5EF4-FFF2-40B4-BE49-F238E27FC236}">
                <a16:creationId xmlns:a16="http://schemas.microsoft.com/office/drawing/2014/main" xmlns="" id="{E77FA1BC-992A-474A-99C8-2FF763D44CFC}"/>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1D573755-52D3-11A9-1908-E027C9E123B6}"/>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a16="http://schemas.microsoft.com/office/drawing/2014/main" xmlns="" id="{1844C991-962C-D4B2-914A-96D64334FF3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7" name="Picture 9">
            <a:extLst>
              <a:ext uri="{FF2B5EF4-FFF2-40B4-BE49-F238E27FC236}">
                <a16:creationId xmlns:a16="http://schemas.microsoft.com/office/drawing/2014/main" xmlns="" id="{7C668FD5-0D1E-D05F-826F-CB8A7BBD5D80}"/>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686782724"/>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Cierre_casa">
    <p:bg>
      <p:bgRef idx="1001">
        <a:schemeClr val="bg2"/>
      </p:bgRef>
    </p:bg>
    <p:spTree>
      <p:nvGrpSpPr>
        <p:cNvPr id="1" name=""/>
        <p:cNvGrpSpPr/>
        <p:nvPr/>
      </p:nvGrpSpPr>
      <p:grpSpPr>
        <a:xfrm>
          <a:off x="0" y="0"/>
          <a:ext cx="0" cy="0"/>
          <a:chOff x="0" y="0"/>
          <a:chExt cx="0" cy="0"/>
        </a:xfrm>
      </p:grpSpPr>
      <p:sp>
        <p:nvSpPr>
          <p:cNvPr id="2" name="Marcador de texto 7">
            <a:extLst>
              <a:ext uri="{FF2B5EF4-FFF2-40B4-BE49-F238E27FC236}">
                <a16:creationId xmlns:a16="http://schemas.microsoft.com/office/drawing/2014/main" xmlns="" id="{6FD37190-D8CB-B721-B802-B940C8430ADD}"/>
              </a:ext>
            </a:extLst>
          </p:cNvPr>
          <p:cNvSpPr>
            <a:spLocks noGrp="1"/>
          </p:cNvSpPr>
          <p:nvPr>
            <p:ph type="body" sz="quarter" idx="17" hasCustomPrompt="1"/>
          </p:nvPr>
        </p:nvSpPr>
        <p:spPr>
          <a:xfrm>
            <a:off x="4866002" y="1325117"/>
            <a:ext cx="5340927" cy="3293365"/>
          </a:xfrm>
          <a:prstGeom prst="rect">
            <a:avLst/>
          </a:prstGeom>
        </p:spPr>
        <p:txBody>
          <a:bodyPr lIns="0" tIns="0" rIns="0" bIns="0"/>
          <a:lstStyle>
            <a:lvl1pPr marL="0" indent="0">
              <a:spcBef>
                <a:spcPts val="0"/>
              </a:spcBef>
              <a:buNone/>
              <a:tabLst/>
              <a:defRPr sz="115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Muchas</a:t>
            </a:r>
          </a:p>
          <a:p>
            <a:pPr lvl="0"/>
            <a:r>
              <a:rPr lang="es-ES" dirty="0"/>
              <a:t>gracias!</a:t>
            </a:r>
            <a:endParaRPr lang="es-CL" dirty="0"/>
          </a:p>
        </p:txBody>
      </p:sp>
      <p:pic>
        <p:nvPicPr>
          <p:cNvPr id="7" name="Picture 6">
            <a:extLst>
              <a:ext uri="{FF2B5EF4-FFF2-40B4-BE49-F238E27FC236}">
                <a16:creationId xmlns:a16="http://schemas.microsoft.com/office/drawing/2014/main" xmlns="" id="{2E7EB75B-AFA5-A24E-275D-BF73DF5084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9356" t="-1005" r="24290" b="18450"/>
          <a:stretch/>
        </p:blipFill>
        <p:spPr>
          <a:xfrm>
            <a:off x="379957" y="696191"/>
            <a:ext cx="5954232" cy="6161809"/>
          </a:xfrm>
          <a:prstGeom prst="rect">
            <a:avLst/>
          </a:prstGeom>
        </p:spPr>
      </p:pic>
      <p:sp>
        <p:nvSpPr>
          <p:cNvPr id="9" name="Marcador de texto 7">
            <a:extLst>
              <a:ext uri="{FF2B5EF4-FFF2-40B4-BE49-F238E27FC236}">
                <a16:creationId xmlns:a16="http://schemas.microsoft.com/office/drawing/2014/main" xmlns="" id="{7E0A6187-581B-9495-C946-63C5BF6773E3}"/>
              </a:ext>
            </a:extLst>
          </p:cNvPr>
          <p:cNvSpPr>
            <a:spLocks noGrp="1"/>
          </p:cNvSpPr>
          <p:nvPr>
            <p:ph type="body" sz="quarter" idx="19" hasCustomPrompt="1"/>
          </p:nvPr>
        </p:nvSpPr>
        <p:spPr>
          <a:xfrm>
            <a:off x="4866002" y="4903909"/>
            <a:ext cx="2138711" cy="239485"/>
          </a:xfrm>
          <a:prstGeom prst="rect">
            <a:avLst/>
          </a:prstGeom>
        </p:spPr>
        <p:txBody>
          <a:bodyPr lIns="0" tIns="0" rIns="0" bIns="0"/>
          <a:lstStyle>
            <a:lvl1pPr marL="0" indent="0">
              <a:buNone/>
              <a:defRPr sz="12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www.achs.cl</a:t>
            </a:r>
            <a:endParaRPr lang="es-CL" dirty="0"/>
          </a:p>
        </p:txBody>
      </p:sp>
      <p:pic>
        <p:nvPicPr>
          <p:cNvPr id="3" name="Picture 9">
            <a:extLst>
              <a:ext uri="{FF2B5EF4-FFF2-40B4-BE49-F238E27FC236}">
                <a16:creationId xmlns:a16="http://schemas.microsoft.com/office/drawing/2014/main" xmlns="" id="{8CAF82DF-1EBE-5B84-3BAD-E0710FCC0764}"/>
              </a:ext>
            </a:extLst>
          </p:cNvPr>
          <p:cNvPicPr>
            <a:picLocks noChangeAspect="1"/>
          </p:cNvPicPr>
          <p:nvPr userDrawn="1"/>
        </p:nvPicPr>
        <p:blipFill>
          <a:blip r:embed="rId3"/>
          <a:stretch>
            <a:fillRect/>
          </a:stretch>
        </p:blipFill>
        <p:spPr>
          <a:xfrm>
            <a:off x="4866002" y="5428821"/>
            <a:ext cx="1266351" cy="518996"/>
          </a:xfrm>
          <a:prstGeom prst="rect">
            <a:avLst/>
          </a:prstGeom>
        </p:spPr>
      </p:pic>
    </p:spTree>
    <p:extLst>
      <p:ext uri="{BB962C8B-B14F-4D97-AF65-F5344CB8AC3E}">
        <p14:creationId xmlns:p14="http://schemas.microsoft.com/office/powerpoint/2010/main" val="1512738999"/>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Verde Portadilla capitulo c titulo y logo (V2)">
    <p:bg>
      <p:bgPr>
        <a:solidFill>
          <a:schemeClr val="accent1"/>
        </a:solidFill>
        <a:effectLst/>
      </p:bgPr>
    </p:bg>
    <p:spTree>
      <p:nvGrpSpPr>
        <p:cNvPr id="1" name=""/>
        <p:cNvGrpSpPr/>
        <p:nvPr/>
      </p:nvGrpSpPr>
      <p:grpSpPr>
        <a:xfrm>
          <a:off x="0" y="0"/>
          <a:ext cx="0" cy="0"/>
          <a:chOff x="0" y="0"/>
          <a:chExt cx="0" cy="0"/>
        </a:xfrm>
      </p:grpSpPr>
      <p:sp>
        <p:nvSpPr>
          <p:cNvPr id="7" name="Marcador de texto 7">
            <a:extLst>
              <a:ext uri="{FF2B5EF4-FFF2-40B4-BE49-F238E27FC236}">
                <a16:creationId xmlns:a16="http://schemas.microsoft.com/office/drawing/2014/main" xmlns="" id="{7D61C88C-2C0C-7B1D-6536-0F4590425B1A}"/>
              </a:ext>
            </a:extLst>
          </p:cNvPr>
          <p:cNvSpPr>
            <a:spLocks noGrp="1"/>
          </p:cNvSpPr>
          <p:nvPr>
            <p:ph type="body" sz="quarter" idx="62" hasCustomPrompt="1"/>
          </p:nvPr>
        </p:nvSpPr>
        <p:spPr>
          <a:xfrm>
            <a:off x="864297" y="4868685"/>
            <a:ext cx="5863856" cy="356282"/>
          </a:xfrm>
          <a:prstGeom prst="rect">
            <a:avLst/>
          </a:prstGeom>
        </p:spPr>
        <p:txBody>
          <a:bodyPr lIns="0" tIns="0" rIns="0" bIns="0"/>
          <a:lstStyle>
            <a:lvl1pPr marL="0" indent="0">
              <a:buNone/>
              <a:defRPr sz="2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20</a:t>
            </a:r>
            <a:endParaRPr lang="es-CL" dirty="0"/>
          </a:p>
        </p:txBody>
      </p:sp>
      <p:sp>
        <p:nvSpPr>
          <p:cNvPr id="8" name="Marcador de texto 7">
            <a:extLst>
              <a:ext uri="{FF2B5EF4-FFF2-40B4-BE49-F238E27FC236}">
                <a16:creationId xmlns:a16="http://schemas.microsoft.com/office/drawing/2014/main" xmlns="" id="{F8BF8D9D-FA7C-CE9E-07AE-288D7938C1A6}"/>
              </a:ext>
            </a:extLst>
          </p:cNvPr>
          <p:cNvSpPr>
            <a:spLocks noGrp="1"/>
          </p:cNvSpPr>
          <p:nvPr>
            <p:ph type="body" sz="quarter" idx="61" hasCustomPrompt="1"/>
          </p:nvPr>
        </p:nvSpPr>
        <p:spPr>
          <a:xfrm>
            <a:off x="864296" y="1989315"/>
            <a:ext cx="7792024" cy="2346837"/>
          </a:xfrm>
          <a:prstGeom prst="rect">
            <a:avLst/>
          </a:prstGeom>
        </p:spPr>
        <p:txBody>
          <a:bodyPr lIns="0" tIns="0" rIns="0" bIns="0"/>
          <a:lstStyle>
            <a:lvl1pPr marL="0" indent="0">
              <a:buNone/>
              <a:defRPr sz="6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a:t>
            </a:r>
          </a:p>
          <a:p>
            <a:pPr lvl="0"/>
            <a:r>
              <a:rPr lang="es-ES" dirty="0"/>
              <a:t>60 puntos</a:t>
            </a:r>
          </a:p>
        </p:txBody>
      </p:sp>
      <p:pic>
        <p:nvPicPr>
          <p:cNvPr id="9" name="Picture 8">
            <a:extLst>
              <a:ext uri="{FF2B5EF4-FFF2-40B4-BE49-F238E27FC236}">
                <a16:creationId xmlns:a16="http://schemas.microsoft.com/office/drawing/2014/main" xmlns="" id="{0269E2A7-5379-587D-1CF3-26750B56C66F}"/>
              </a:ext>
            </a:extLst>
          </p:cNvPr>
          <p:cNvPicPr>
            <a:picLocks noChangeAspect="1"/>
          </p:cNvPicPr>
          <p:nvPr userDrawn="1"/>
        </p:nvPicPr>
        <p:blipFill>
          <a:blip r:embed="rId2"/>
          <a:stretch>
            <a:fillRect/>
          </a:stretch>
        </p:blipFill>
        <p:spPr>
          <a:xfrm rot="10800000" flipH="1">
            <a:off x="0" y="5477069"/>
            <a:ext cx="1380931" cy="1380931"/>
          </a:xfrm>
          <a:prstGeom prst="rect">
            <a:avLst/>
          </a:prstGeom>
        </p:spPr>
      </p:pic>
    </p:spTree>
    <p:extLst>
      <p:ext uri="{BB962C8B-B14F-4D97-AF65-F5344CB8AC3E}">
        <p14:creationId xmlns:p14="http://schemas.microsoft.com/office/powerpoint/2010/main" val="2938283357"/>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3"/>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2867" name="Diapositiva de think-cell" r:id="rId5" imgW="0" imgH="0" progId="TCLayout.ActiveDocument.1">
                  <p:embed/>
                </p:oleObj>
              </mc:Choice>
              <mc:Fallback>
                <p:oleObj name="Diapositiva de think-cell" r:id="rId5"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a16="http://schemas.microsoft.com/office/drawing/2014/main" xmlns=""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14" name="Círculo">
            <a:extLst>
              <a:ext uri="{FF2B5EF4-FFF2-40B4-BE49-F238E27FC236}">
                <a16:creationId xmlns:a16="http://schemas.microsoft.com/office/drawing/2014/main" xmlns=""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15" name="Círculo">
            <a:extLst>
              <a:ext uri="{FF2B5EF4-FFF2-40B4-BE49-F238E27FC236}">
                <a16:creationId xmlns:a16="http://schemas.microsoft.com/office/drawing/2014/main" xmlns=""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6" name="Círculo">
            <a:extLst>
              <a:ext uri="{FF2B5EF4-FFF2-40B4-BE49-F238E27FC236}">
                <a16:creationId xmlns:a16="http://schemas.microsoft.com/office/drawing/2014/main" xmlns=""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7" name="Círculo">
            <a:extLst>
              <a:ext uri="{FF2B5EF4-FFF2-40B4-BE49-F238E27FC236}">
                <a16:creationId xmlns:a16="http://schemas.microsoft.com/office/drawing/2014/main" xmlns=""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8" name="Círculo">
            <a:extLst>
              <a:ext uri="{FF2B5EF4-FFF2-40B4-BE49-F238E27FC236}">
                <a16:creationId xmlns:a16="http://schemas.microsoft.com/office/drawing/2014/main" xmlns=""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9" name="Círculo">
            <a:extLst>
              <a:ext uri="{FF2B5EF4-FFF2-40B4-BE49-F238E27FC236}">
                <a16:creationId xmlns:a16="http://schemas.microsoft.com/office/drawing/2014/main" xmlns=""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a16="http://schemas.microsoft.com/office/drawing/2014/main" xmlns=""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Primarios de marca</a:t>
            </a:r>
            <a:endParaRPr lang="es-CL" sz="1000" kern="0" dirty="0">
              <a:solidFill>
                <a:srgbClr val="616161"/>
              </a:solidFill>
              <a:ea typeface="Helvetica Neue Medium"/>
              <a:cs typeface="Helvetica Neue Medium"/>
              <a:sym typeface="Helvetica Neue Medium"/>
            </a:endParaRPr>
          </a:p>
        </p:txBody>
      </p:sp>
      <p:sp>
        <p:nvSpPr>
          <p:cNvPr id="21" name="Rectángulo 20">
            <a:extLst>
              <a:ext uri="{FF2B5EF4-FFF2-40B4-BE49-F238E27FC236}">
                <a16:creationId xmlns:a16="http://schemas.microsoft.com/office/drawing/2014/main" xmlns=""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2" name="Rectángulo 21">
            <a:extLst>
              <a:ext uri="{FF2B5EF4-FFF2-40B4-BE49-F238E27FC236}">
                <a16:creationId xmlns:a16="http://schemas.microsoft.com/office/drawing/2014/main" xmlns=""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3" name="Círculo">
            <a:extLst>
              <a:ext uri="{FF2B5EF4-FFF2-40B4-BE49-F238E27FC236}">
                <a16:creationId xmlns:a16="http://schemas.microsoft.com/office/drawing/2014/main" xmlns=""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4" name="Círculo">
            <a:extLst>
              <a:ext uri="{FF2B5EF4-FFF2-40B4-BE49-F238E27FC236}">
                <a16:creationId xmlns:a16="http://schemas.microsoft.com/office/drawing/2014/main" xmlns=""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5" name="Rectángulo 24">
            <a:extLst>
              <a:ext uri="{FF2B5EF4-FFF2-40B4-BE49-F238E27FC236}">
                <a16:creationId xmlns:a16="http://schemas.microsoft.com/office/drawing/2014/main" xmlns=""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sp>
        <p:nvSpPr>
          <p:cNvPr id="3" name="Marcador de texto 7">
            <a:extLst>
              <a:ext uri="{FF2B5EF4-FFF2-40B4-BE49-F238E27FC236}">
                <a16:creationId xmlns:a16="http://schemas.microsoft.com/office/drawing/2014/main" xmlns="" id="{1943F51B-EF78-1CE1-9216-D1974F345A1E}"/>
              </a:ext>
            </a:extLst>
          </p:cNvPr>
          <p:cNvSpPr>
            <a:spLocks noGrp="1"/>
          </p:cNvSpPr>
          <p:nvPr>
            <p:ph type="body" sz="quarter" idx="61" hasCustomPrompt="1"/>
          </p:nvPr>
        </p:nvSpPr>
        <p:spPr>
          <a:xfrm>
            <a:off x="449262" y="496571"/>
            <a:ext cx="9847327"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xmlns="" id="{3A14FED0-8546-451A-A14F-0D543A261EAE}"/>
              </a:ext>
            </a:extLst>
          </p:cNvPr>
          <p:cNvSpPr>
            <a:spLocks noGrp="1"/>
          </p:cNvSpPr>
          <p:nvPr>
            <p:ph type="body" sz="quarter" idx="62" hasCustomPrompt="1"/>
          </p:nvPr>
        </p:nvSpPr>
        <p:spPr>
          <a:xfrm>
            <a:off x="449262" y="1159880"/>
            <a:ext cx="9847327"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9" name="Conector recto 18">
            <a:extLst>
              <a:ext uri="{FF2B5EF4-FFF2-40B4-BE49-F238E27FC236}">
                <a16:creationId xmlns:a16="http://schemas.microsoft.com/office/drawing/2014/main" xmlns="" id="{A6DD75FD-44FF-78AD-787E-BE3CCDDE08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3" name="Marcador de texto 7">
            <a:extLst>
              <a:ext uri="{FF2B5EF4-FFF2-40B4-BE49-F238E27FC236}">
                <a16:creationId xmlns:a16="http://schemas.microsoft.com/office/drawing/2014/main" xmlns="" id="{5F3F7008-4A10-D5C1-C2AF-95454CF42D40}"/>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xmlns="" id="{21C80C0E-D9E4-924A-F302-EF84E1C541CC}"/>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1" descr="A green sign with white text&#10;&#10;Description automatically generated with low confidence">
            <a:extLst>
              <a:ext uri="{FF2B5EF4-FFF2-40B4-BE49-F238E27FC236}">
                <a16:creationId xmlns:a16="http://schemas.microsoft.com/office/drawing/2014/main" xmlns="" id="{C106790C-406C-F654-4183-98176C2B8C6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98891" y="452438"/>
            <a:ext cx="523875" cy="523875"/>
          </a:xfrm>
          <a:prstGeom prst="rect">
            <a:avLst/>
          </a:prstGeom>
        </p:spPr>
      </p:pic>
    </p:spTree>
    <p:custDataLst>
      <p:tags r:id="rId2"/>
    </p:custDataLst>
    <p:extLst>
      <p:ext uri="{BB962C8B-B14F-4D97-AF65-F5344CB8AC3E}">
        <p14:creationId xmlns:p14="http://schemas.microsoft.com/office/powerpoint/2010/main" val="3144661073"/>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8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3"/>
            </p:custDataLst>
            <p:extLst>
              <p:ext uri="{D42A27DB-BD31-4B8C-83A1-F6EECF244321}">
                <p14:modId xmlns:p14="http://schemas.microsoft.com/office/powerpoint/2010/main" val="3141332649"/>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4915" name="Diapositiva de think-cell" r:id="rId5" imgW="0" imgH="0" progId="TCLayout.ActiveDocument.1">
                  <p:embed/>
                </p:oleObj>
              </mc:Choice>
              <mc:Fallback>
                <p:oleObj name="Diapositiva de think-cell" r:id="rId5"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Marcador de texto 7">
            <a:extLst>
              <a:ext uri="{FF2B5EF4-FFF2-40B4-BE49-F238E27FC236}">
                <a16:creationId xmlns:a16="http://schemas.microsoft.com/office/drawing/2014/main" xmlns="" id="{60540B44-8664-9E9A-1B51-E35F4E3BA253}"/>
              </a:ext>
            </a:extLst>
          </p:cNvPr>
          <p:cNvSpPr>
            <a:spLocks noGrp="1"/>
          </p:cNvSpPr>
          <p:nvPr>
            <p:ph type="body" sz="quarter" idx="65" hasCustomPrompt="1"/>
          </p:nvPr>
        </p:nvSpPr>
        <p:spPr>
          <a:xfrm>
            <a:off x="449262" y="496571"/>
            <a:ext cx="9849281" cy="523874"/>
          </a:xfrm>
          <a:prstGeom prst="rect">
            <a:avLst/>
          </a:prstGeom>
        </p:spPr>
        <p:txBody>
          <a:bodyPr lIns="0" tIns="0" rIns="0" bIns="0"/>
          <a:lstStyle>
            <a:lvl1pPr marL="0" indent="0">
              <a:buNone/>
              <a:defRPr lang="es-ES" sz="2000" b="0" i="0" u="none" strike="noStrike" cap="none" spc="0" baseline="0" dirty="0">
                <a:solidFill>
                  <a:schemeClr val="accent5"/>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14" name="Marcador de texto 7">
            <a:extLst>
              <a:ext uri="{FF2B5EF4-FFF2-40B4-BE49-F238E27FC236}">
                <a16:creationId xmlns:a16="http://schemas.microsoft.com/office/drawing/2014/main" xmlns="" id="{9AC2FA9E-A62F-2530-7FC5-87931CF25B46}"/>
              </a:ext>
            </a:extLst>
          </p:cNvPr>
          <p:cNvSpPr>
            <a:spLocks noGrp="1"/>
          </p:cNvSpPr>
          <p:nvPr>
            <p:ph type="body" sz="quarter" idx="66" hasCustomPrompt="1"/>
          </p:nvPr>
        </p:nvSpPr>
        <p:spPr>
          <a:xfrm>
            <a:off x="449262" y="1159880"/>
            <a:ext cx="9849281" cy="356282"/>
          </a:xfrm>
          <a:prstGeom prst="rect">
            <a:avLst/>
          </a:prstGeom>
        </p:spPr>
        <p:txBody>
          <a:bodyPr lIns="0" tIns="0" rIns="0" bIns="0"/>
          <a:lstStyle>
            <a:lvl1pPr marL="0" indent="0">
              <a:buNone/>
              <a:defRPr lang="es-CL" sz="1600" b="0" i="0" u="none" strike="noStrike" cap="none" spc="0" baseline="0" dirty="0">
                <a:solidFill>
                  <a:schemeClr val="accent3">
                    <a:lumMod val="75000"/>
                    <a:lumOff val="25000"/>
                  </a:schemeClr>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5" name="Conector recto 18">
            <a:extLst>
              <a:ext uri="{FF2B5EF4-FFF2-40B4-BE49-F238E27FC236}">
                <a16:creationId xmlns:a16="http://schemas.microsoft.com/office/drawing/2014/main" xmlns="" id="{34157F75-3942-DD21-0DCA-9E6F5345198C}"/>
              </a:ext>
            </a:extLst>
          </p:cNvPr>
          <p:cNvCxnSpPr>
            <a:cxnSpLocks/>
          </p:cNvCxnSpPr>
          <p:nvPr userDrawn="1"/>
        </p:nvCxnSpPr>
        <p:spPr>
          <a:xfrm>
            <a:off x="436563" y="385812"/>
            <a:ext cx="1297221" cy="0"/>
          </a:xfrm>
          <a:prstGeom prst="line">
            <a:avLst/>
          </a:prstGeom>
          <a:noFill/>
          <a:ln w="22225" cap="flat">
            <a:solidFill>
              <a:schemeClr val="accent5"/>
            </a:solidFill>
            <a:prstDash val="solid"/>
            <a:miter lim="400000"/>
          </a:ln>
          <a:effectLst/>
          <a:sp3d/>
        </p:spPr>
        <p:style>
          <a:lnRef idx="0">
            <a:scrgbClr r="0" g="0" b="0"/>
          </a:lnRef>
          <a:fillRef idx="0">
            <a:scrgbClr r="0" g="0" b="0"/>
          </a:fillRef>
          <a:effectRef idx="0">
            <a:scrgbClr r="0" g="0" b="0"/>
          </a:effectRef>
          <a:fontRef idx="none"/>
        </p:style>
      </p:cxnSp>
      <p:sp>
        <p:nvSpPr>
          <p:cNvPr id="2" name="Marcador de texto 7">
            <a:extLst>
              <a:ext uri="{FF2B5EF4-FFF2-40B4-BE49-F238E27FC236}">
                <a16:creationId xmlns:a16="http://schemas.microsoft.com/office/drawing/2014/main" xmlns="" id="{5F4608A8-6038-FA17-2E9D-677484DDB9E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3" name="Marcador de número de diapositiva 1">
            <a:extLst>
              <a:ext uri="{FF2B5EF4-FFF2-40B4-BE49-F238E27FC236}">
                <a16:creationId xmlns:a16="http://schemas.microsoft.com/office/drawing/2014/main" xmlns="" id="{C370C86E-9455-6F60-FDCA-8338B1E62F10}"/>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5" name="Círculo">
            <a:extLst>
              <a:ext uri="{FF2B5EF4-FFF2-40B4-BE49-F238E27FC236}">
                <a16:creationId xmlns:a16="http://schemas.microsoft.com/office/drawing/2014/main" xmlns="" id="{B013BD41-287C-1A57-DF87-979E3985710F}"/>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7" name="Círculo">
            <a:extLst>
              <a:ext uri="{FF2B5EF4-FFF2-40B4-BE49-F238E27FC236}">
                <a16:creationId xmlns:a16="http://schemas.microsoft.com/office/drawing/2014/main" xmlns="" id="{038593C4-09B1-CC43-03A6-1E570B7E9230}"/>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9" name="Círculo">
            <a:extLst>
              <a:ext uri="{FF2B5EF4-FFF2-40B4-BE49-F238E27FC236}">
                <a16:creationId xmlns:a16="http://schemas.microsoft.com/office/drawing/2014/main" xmlns="" id="{64C3536A-DB1D-5F9D-A859-EF83745A0F3C}"/>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0" name="Círculo">
            <a:extLst>
              <a:ext uri="{FF2B5EF4-FFF2-40B4-BE49-F238E27FC236}">
                <a16:creationId xmlns:a16="http://schemas.microsoft.com/office/drawing/2014/main" xmlns="" id="{F0E96976-20F5-C9D2-DB6C-2972F6ADC8ED}"/>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1" name="Círculo">
            <a:extLst>
              <a:ext uri="{FF2B5EF4-FFF2-40B4-BE49-F238E27FC236}">
                <a16:creationId xmlns:a16="http://schemas.microsoft.com/office/drawing/2014/main" xmlns="" id="{8284F20C-5834-107A-6C61-4581EF210267}"/>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6" name="Círculo">
            <a:extLst>
              <a:ext uri="{FF2B5EF4-FFF2-40B4-BE49-F238E27FC236}">
                <a16:creationId xmlns:a16="http://schemas.microsoft.com/office/drawing/2014/main" xmlns="" id="{B90B81C4-637D-FE03-E21B-DA820BA34052}"/>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7" name="Círculo">
            <a:extLst>
              <a:ext uri="{FF2B5EF4-FFF2-40B4-BE49-F238E27FC236}">
                <a16:creationId xmlns:a16="http://schemas.microsoft.com/office/drawing/2014/main" xmlns="" id="{EF616713-76ED-1DF7-A5AF-E647F10E69B4}"/>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a16="http://schemas.microsoft.com/office/drawing/2014/main" xmlns="" id="{E84A4A24-CB9F-C923-AFB2-BB380632CC49}"/>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Primarios de marca</a:t>
            </a:r>
            <a:endParaRPr lang="es-CL" sz="1000" kern="0" dirty="0">
              <a:solidFill>
                <a:srgbClr val="616161"/>
              </a:solidFill>
              <a:ea typeface="Helvetica Neue Medium"/>
              <a:cs typeface="Helvetica Neue Medium"/>
              <a:sym typeface="Helvetica Neue Medium"/>
            </a:endParaRPr>
          </a:p>
        </p:txBody>
      </p:sp>
      <p:sp>
        <p:nvSpPr>
          <p:cNvPr id="19" name="Rectángulo 18">
            <a:extLst>
              <a:ext uri="{FF2B5EF4-FFF2-40B4-BE49-F238E27FC236}">
                <a16:creationId xmlns:a16="http://schemas.microsoft.com/office/drawing/2014/main" xmlns="" id="{0ABF032F-0128-3042-C572-D475BC9EE629}"/>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0" name="Rectángulo 19">
            <a:extLst>
              <a:ext uri="{FF2B5EF4-FFF2-40B4-BE49-F238E27FC236}">
                <a16:creationId xmlns:a16="http://schemas.microsoft.com/office/drawing/2014/main" xmlns="" id="{3406777C-366A-BBCE-2030-CB4475CFAEAC}"/>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1" name="Círculo">
            <a:extLst>
              <a:ext uri="{FF2B5EF4-FFF2-40B4-BE49-F238E27FC236}">
                <a16:creationId xmlns:a16="http://schemas.microsoft.com/office/drawing/2014/main" xmlns="" id="{12C0B682-0695-8ABA-7305-F19C5602C945}"/>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2" name="Círculo">
            <a:extLst>
              <a:ext uri="{FF2B5EF4-FFF2-40B4-BE49-F238E27FC236}">
                <a16:creationId xmlns:a16="http://schemas.microsoft.com/office/drawing/2014/main" xmlns="" id="{DB299067-D620-B2F3-D94C-C61BF550AE28}"/>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3" name="Rectángulo 22">
            <a:extLst>
              <a:ext uri="{FF2B5EF4-FFF2-40B4-BE49-F238E27FC236}">
                <a16:creationId xmlns:a16="http://schemas.microsoft.com/office/drawing/2014/main" xmlns="" id="{82552B1E-5A98-21B5-3B5F-3DFF71BE7B09}"/>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pic>
        <p:nvPicPr>
          <p:cNvPr id="6" name="Picture 11">
            <a:extLst>
              <a:ext uri="{FF2B5EF4-FFF2-40B4-BE49-F238E27FC236}">
                <a16:creationId xmlns:a16="http://schemas.microsoft.com/office/drawing/2014/main" xmlns="" id="{766BE09E-5357-EEDE-AED0-1BFD1724A19F}"/>
              </a:ext>
            </a:extLst>
          </p:cNvPr>
          <p:cNvPicPr>
            <a:picLocks noChangeAspect="1"/>
          </p:cNvPicPr>
          <p:nvPr userDrawn="1"/>
        </p:nvPicPr>
        <p:blipFill>
          <a:blip r:embed="rId6"/>
          <a:stretch>
            <a:fillRect/>
          </a:stretch>
        </p:blipFill>
        <p:spPr>
          <a:xfrm>
            <a:off x="10458369" y="457795"/>
            <a:ext cx="1415553" cy="518518"/>
          </a:xfrm>
          <a:prstGeom prst="rect">
            <a:avLst/>
          </a:prstGeom>
        </p:spPr>
      </p:pic>
    </p:spTree>
    <p:custDataLst>
      <p:tags r:id="rId2"/>
    </p:custDataLst>
    <p:extLst>
      <p:ext uri="{BB962C8B-B14F-4D97-AF65-F5344CB8AC3E}">
        <p14:creationId xmlns:p14="http://schemas.microsoft.com/office/powerpoint/2010/main" val="3088268511"/>
      </p:ext>
    </p:extLst>
  </p:cSld>
  <p:clrMapOvr>
    <a:masterClrMapping/>
  </p:clrMapOvr>
  <p:transition/>
  <p:extLst mod="1">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F9C18FE8-0749-2C42-B198-0F4DC5680F43}"/>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CL"/>
          </a:p>
        </p:txBody>
      </p:sp>
      <p:sp>
        <p:nvSpPr>
          <p:cNvPr id="3" name="Subtítulo 2">
            <a:extLst>
              <a:ext uri="{FF2B5EF4-FFF2-40B4-BE49-F238E27FC236}">
                <a16:creationId xmlns:a16="http://schemas.microsoft.com/office/drawing/2014/main" xmlns="" id="{353F16A4-AA9E-234F-B410-8DFF5002533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a:extLst>
              <a:ext uri="{FF2B5EF4-FFF2-40B4-BE49-F238E27FC236}">
                <a16:creationId xmlns:a16="http://schemas.microsoft.com/office/drawing/2014/main" xmlns="" id="{8387DE06-223E-2244-A571-B284E954A96A}"/>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907C2FDC-5719-904E-A060-B6058680B96A}"/>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26D64D61-8CDF-454B-88D3-8B532544DAD5}"/>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7231257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D884828A-099E-2347-B19D-1C80ECCE077A}"/>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44F8E1F0-E41D-D545-A40F-6BADA7C03DFB}"/>
              </a:ext>
            </a:extLst>
          </p:cNvPr>
          <p:cNvSpPr>
            <a:spLocks noGrp="1"/>
          </p:cNvSpPr>
          <p:nvPr>
            <p:ph idx="1"/>
          </p:nvPr>
        </p:nvSpPr>
        <p:spPr/>
        <p:txBody>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DF3CF82D-BAD7-484A-98E4-BE01FD421FD1}"/>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EE583DE5-4464-0F40-BA02-E9FAF4A93AB4}"/>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D7F6F050-6708-6A42-92DD-7E0D834B6344}"/>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6447270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32A4F985-5364-6E40-4A83-23C6EC548210}"/>
              </a:ext>
            </a:extLst>
          </p:cNvPr>
          <p:cNvGraphicFramePr>
            <a:graphicFrameLocks noChangeAspect="1"/>
          </p:cNvGraphicFramePr>
          <p:nvPr userDrawn="1">
            <p:custDataLst>
              <p:tags r:id="rId11"/>
            </p:custDataLst>
            <p:extLst>
              <p:ext uri="{D42A27DB-BD31-4B8C-83A1-F6EECF244321}">
                <p14:modId xmlns:p14="http://schemas.microsoft.com/office/powerpoint/2010/main" val="2631700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3" name="Diapositiva de think-cell" r:id="rId12" imgW="415" imgH="416" progId="TCLayout.ActiveDocument.1">
                  <p:embed/>
                </p:oleObj>
              </mc:Choice>
              <mc:Fallback>
                <p:oleObj name="Diapositiva de think-cell" r:id="rId12" imgW="415" imgH="416" progId="TCLayout.ActiveDocument.1">
                  <p:embed/>
                  <p:pic>
                    <p:nvPicPr>
                      <p:cNvPr id="2" name="Objeto 1" hidden="1">
                        <a:extLst>
                          <a:ext uri="{FF2B5EF4-FFF2-40B4-BE49-F238E27FC236}">
                            <a16:creationId xmlns:a16="http://schemas.microsoft.com/office/drawing/2014/main" xmlns="" id="{32A4F985-5364-6E40-4A83-23C6EC548210}"/>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xmlns=""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custDataLst>
      <p:tags r:id="rId10"/>
    </p:custDataLst>
    <p:extLst>
      <p:ext uri="{BB962C8B-B14F-4D97-AF65-F5344CB8AC3E}">
        <p14:creationId xmlns:p14="http://schemas.microsoft.com/office/powerpoint/2010/main" val="195468931"/>
      </p:ext>
    </p:extLst>
  </p:cSld>
  <p:clrMap bg1="lt1" tx1="dk1" bg2="lt2" tx2="dk2" accent1="accent1" accent2="accent2" accent3="accent3" accent4="accent4" accent5="accent5" accent6="accent6" hlink="hlink" folHlink="folHlink"/>
  <p:sldLayoutIdLst>
    <p:sldLayoutId id="2147483652" r:id="rId1"/>
    <p:sldLayoutId id="2147483697" r:id="rId2"/>
    <p:sldLayoutId id="2147483665" r:id="rId3"/>
    <p:sldLayoutId id="2147483686" r:id="rId4"/>
    <p:sldLayoutId id="2147483698" r:id="rId5"/>
    <p:sldLayoutId id="2147483696" r:id="rId6"/>
    <p:sldLayoutId id="2147483695" r:id="rId7"/>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xmlns="" id="{7EAE2FC3-E8D4-FE4D-98F5-925B84F586B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348AB11D-457D-7D41-8335-147C4E4C246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1D5EA07A-1424-0F4F-BD85-682D60C45CA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F5D46D7D-5D94-DD44-BA69-DBCCFDB9C75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1C3A2914-F0B2-F043-8D6A-7832AE91E28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469388156"/>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6.bin"/><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9.jp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emf"/><Relationship Id="rId7" Type="http://schemas.openxmlformats.org/officeDocument/2006/relationships/image" Target="../media/image23.emf"/><Relationship Id="rId2" Type="http://schemas.openxmlformats.org/officeDocument/2006/relationships/slideLayout" Target="../slideLayouts/slideLayout3.xml"/><Relationship Id="rId1" Type="http://schemas.openxmlformats.org/officeDocument/2006/relationships/tags" Target="../tags/tag21.xml"/><Relationship Id="rId6" Type="http://schemas.openxmlformats.org/officeDocument/2006/relationships/image" Target="../media/image22.emf"/><Relationship Id="rId5" Type="http://schemas.openxmlformats.org/officeDocument/2006/relationships/image" Target="../media/image21.emf"/><Relationship Id="rId4" Type="http://schemas.openxmlformats.org/officeDocument/2006/relationships/image" Target="../media/image18.emf"/></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Layout" Target="../slideLayouts/slideLayout3.xml"/><Relationship Id="rId1" Type="http://schemas.openxmlformats.org/officeDocument/2006/relationships/tags" Target="../tags/tag22.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Layout" Target="../slideLayouts/slideLayout3.xml"/><Relationship Id="rId1" Type="http://schemas.openxmlformats.org/officeDocument/2006/relationships/tags" Target="../tags/tag23.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24.xml"/><Relationship Id="rId4" Type="http://schemas.openxmlformats.org/officeDocument/2006/relationships/image" Target="../media/image25.jp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25.xml"/><Relationship Id="rId4" Type="http://schemas.openxmlformats.org/officeDocument/2006/relationships/image" Target="../media/image26.jp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26.xml"/><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27.xml"/><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9.xml"/><Relationship Id="rId1" Type="http://schemas.openxmlformats.org/officeDocument/2006/relationships/tags" Target="../tags/tag28.xml"/><Relationship Id="rId6" Type="http://schemas.openxmlformats.org/officeDocument/2006/relationships/image" Target="../media/image31.png"/><Relationship Id="rId5" Type="http://schemas.openxmlformats.org/officeDocument/2006/relationships/image" Target="../media/image59.svg"/><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9.xml"/><Relationship Id="rId1" Type="http://schemas.openxmlformats.org/officeDocument/2006/relationships/tags" Target="../tags/tag29.xml"/><Relationship Id="rId6" Type="http://schemas.openxmlformats.org/officeDocument/2006/relationships/image" Target="../media/image32.png"/><Relationship Id="rId5" Type="http://schemas.openxmlformats.org/officeDocument/2006/relationships/image" Target="../media/image59.svg"/><Relationship Id="rId4" Type="http://schemas.openxmlformats.org/officeDocument/2006/relationships/image" Target="../media/image30.png"/></Relationships>
</file>

<file path=ppt/slides/_rels/slide19.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7.vml"/><Relationship Id="rId6" Type="http://schemas.openxmlformats.org/officeDocument/2006/relationships/image" Target="../media/image33.emf"/><Relationship Id="rId5" Type="http://schemas.openxmlformats.org/officeDocument/2006/relationships/oleObject" Target="../embeddings/oleObject7.bin"/><Relationship Id="rId4"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3.emf"/><Relationship Id="rId2" Type="http://schemas.openxmlformats.org/officeDocument/2006/relationships/slideLayout" Target="../slideLayouts/slideLayout3.xml"/><Relationship Id="rId1" Type="http://schemas.openxmlformats.org/officeDocument/2006/relationships/tags" Target="../tags/tag13.xml"/><Relationship Id="rId6" Type="http://schemas.openxmlformats.org/officeDocument/2006/relationships/image" Target="../media/image12.emf"/><Relationship Id="rId5" Type="http://schemas.openxmlformats.org/officeDocument/2006/relationships/image" Target="../media/image11.emf"/><Relationship Id="rId4" Type="http://schemas.openxmlformats.org/officeDocument/2006/relationships/image" Target="../media/image10.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4.xml"/><Relationship Id="rId4" Type="http://schemas.openxmlformats.org/officeDocument/2006/relationships/image" Target="../media/image14.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5.xml"/><Relationship Id="rId4" Type="http://schemas.openxmlformats.org/officeDocument/2006/relationships/image" Target="../media/image15.emf"/></Relationships>
</file>

<file path=ppt/slides/_rels/slide5.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Layout" Target="../slideLayouts/slideLayout3.xml"/><Relationship Id="rId1" Type="http://schemas.openxmlformats.org/officeDocument/2006/relationships/tags" Target="../tags/tag16.xml"/></Relationships>
</file>

<file path=ppt/slides/_rels/slide6.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Layout" Target="../slideLayouts/slideLayout3.xml"/><Relationship Id="rId1" Type="http://schemas.openxmlformats.org/officeDocument/2006/relationships/tags" Target="../tags/tag17.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8.xml"/></Relationships>
</file>

<file path=ppt/slides/_rels/slide8.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slideLayout" Target="../slideLayouts/slideLayout3.xml"/><Relationship Id="rId1" Type="http://schemas.openxmlformats.org/officeDocument/2006/relationships/tags" Target="../tags/tag19.xml"/><Relationship Id="rId4" Type="http://schemas.openxmlformats.org/officeDocument/2006/relationships/image" Target="../media/image18.emf"/></Relationships>
</file>

<file path=ppt/slides/_rels/slide9.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slideLayout" Target="../slideLayouts/slideLayout3.xml"/><Relationship Id="rId1" Type="http://schemas.openxmlformats.org/officeDocument/2006/relationships/tags" Target="../tags/tag20.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1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n 9">
            <a:extLst>
              <a:ext uri="{FF2B5EF4-FFF2-40B4-BE49-F238E27FC236}">
                <a16:creationId xmlns:a16="http://schemas.microsoft.com/office/drawing/2014/main" xmlns="" id="{1CDFC76D-D084-D749-9F74-B2FBA9CD63C1}"/>
              </a:ext>
            </a:extLst>
          </p:cNvPr>
          <p:cNvPicPr>
            <a:picLocks noChangeAspect="1"/>
          </p:cNvPicPr>
          <p:nvPr/>
        </p:nvPicPr>
        <p:blipFill rotWithShape="1">
          <a:blip r:embed="rId6">
            <a:extLst>
              <a:ext uri="{28A0092B-C50C-407E-A947-70E740481C1C}">
                <a14:useLocalDpi xmlns:a14="http://schemas.microsoft.com/office/drawing/2010/main" val="0"/>
              </a:ext>
            </a:extLst>
          </a:blip>
          <a:srcRect l="967" t="12661" r="11368" b="2019"/>
          <a:stretch/>
        </p:blipFill>
        <p:spPr>
          <a:xfrm>
            <a:off x="0" y="0"/>
            <a:ext cx="10564596" cy="6858000"/>
          </a:xfrm>
          <a:prstGeom prst="rect">
            <a:avLst/>
          </a:prstGeom>
        </p:spPr>
      </p:pic>
      <p:sp>
        <p:nvSpPr>
          <p:cNvPr id="4" name="Marcador de texto 3">
            <a:extLst>
              <a:ext uri="{FF2B5EF4-FFF2-40B4-BE49-F238E27FC236}">
                <a16:creationId xmlns:a16="http://schemas.microsoft.com/office/drawing/2014/main" xmlns="" id="{DD37DDFC-9B35-4472-AAC0-7C735ED89992}"/>
              </a:ext>
            </a:extLst>
          </p:cNvPr>
          <p:cNvSpPr>
            <a:spLocks noGrp="1"/>
          </p:cNvSpPr>
          <p:nvPr>
            <p:ph type="body" sz="quarter" idx="16"/>
          </p:nvPr>
        </p:nvSpPr>
        <p:spPr/>
        <p:txBody>
          <a:bodyPr/>
          <a:lstStyle/>
          <a:p>
            <a:endParaRPr lang="es-CL" dirty="0"/>
          </a:p>
        </p:txBody>
      </p:sp>
      <p:sp>
        <p:nvSpPr>
          <p:cNvPr id="7" name="Marcador de texto 6">
            <a:extLst>
              <a:ext uri="{FF2B5EF4-FFF2-40B4-BE49-F238E27FC236}">
                <a16:creationId xmlns:a16="http://schemas.microsoft.com/office/drawing/2014/main" xmlns="" id="{A188B5C8-1ADD-4220-AF66-167980153FB0}"/>
              </a:ext>
            </a:extLst>
          </p:cNvPr>
          <p:cNvSpPr>
            <a:spLocks noGrp="1"/>
          </p:cNvSpPr>
          <p:nvPr>
            <p:ph type="body" sz="quarter" idx="17"/>
          </p:nvPr>
        </p:nvSpPr>
        <p:spPr>
          <a:xfrm>
            <a:off x="338472" y="5461640"/>
            <a:ext cx="4989786" cy="1143412"/>
          </a:xfrm>
        </p:spPr>
        <p:txBody>
          <a:bodyPr/>
          <a:lstStyle/>
          <a:p>
            <a:r>
              <a:rPr lang="es-CL" dirty="0">
                <a:latin typeface="ACHS Nueva Serif" pitchFamily="2" charset="77"/>
              </a:rPr>
              <a:t>Protocolo vigilancia Hiperbaria</a:t>
            </a:r>
          </a:p>
        </p:txBody>
      </p:sp>
      <p:graphicFrame>
        <p:nvGraphicFramePr>
          <p:cNvPr id="6" name="Objeto 5"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963" name="Diapositiva de think-cell" r:id="rId7" imgW="415" imgH="416" progId="TCLayout.ActiveDocument.1">
                  <p:embed/>
                </p:oleObj>
              </mc:Choice>
              <mc:Fallback>
                <p:oleObj name="Diapositiva de think-cell" r:id="rId7" imgW="415" imgH="416" progId="TCLayout.ActiveDocument.1">
                  <p:embed/>
                  <p:pic>
                    <p:nvPicPr>
                      <p:cNvPr id="6" name="Objeto 5"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ángulo redondeado 7">
            <a:extLst>
              <a:ext uri="{FF2B5EF4-FFF2-40B4-BE49-F238E27FC236}">
                <a16:creationId xmlns:a16="http://schemas.microsoft.com/office/drawing/2014/main" xmlns="" id="{28F435F5-148C-8C40-8E6B-731307752838}"/>
              </a:ext>
            </a:extLst>
          </p:cNvPr>
          <p:cNvSpPr/>
          <p:nvPr/>
        </p:nvSpPr>
        <p:spPr>
          <a:xfrm>
            <a:off x="338472" y="4796887"/>
            <a:ext cx="2236562" cy="448666"/>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dirty="0">
                <a:solidFill>
                  <a:schemeClr val="bg2"/>
                </a:solidFill>
                <a:latin typeface="ACHS Nueva Sans Medium" pitchFamily="2" charset="77"/>
              </a:rPr>
              <a:t>Charla / </a:t>
            </a:r>
            <a:r>
              <a:rPr lang="es-CL" dirty="0" smtClean="0">
                <a:solidFill>
                  <a:schemeClr val="bg2"/>
                </a:solidFill>
                <a:latin typeface="ACHS Nueva Sans Medium" pitchFamily="2" charset="77"/>
              </a:rPr>
              <a:t>Presencial</a:t>
            </a:r>
            <a:endParaRPr lang="es-CL" dirty="0">
              <a:solidFill>
                <a:schemeClr val="bg2"/>
              </a:solidFill>
              <a:latin typeface="ACHS Nueva Sans Medium" pitchFamily="2" charset="77"/>
            </a:endParaRPr>
          </a:p>
        </p:txBody>
      </p:sp>
    </p:spTree>
    <p:custDataLst>
      <p:tags r:id="rId2"/>
    </p:custDataLst>
    <p:extLst>
      <p:ext uri="{BB962C8B-B14F-4D97-AF65-F5344CB8AC3E}">
        <p14:creationId xmlns:p14="http://schemas.microsoft.com/office/powerpoint/2010/main" val="3870600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4">
            <a:extLst>
              <a:ext uri="{FF2B5EF4-FFF2-40B4-BE49-F238E27FC236}">
                <a16:creationId xmlns:a16="http://schemas.microsoft.com/office/drawing/2014/main" xmlns="" id="{E40CE675-CE60-E54A-872A-0140FC44E589}"/>
              </a:ext>
            </a:extLst>
          </p:cNvPr>
          <p:cNvSpPr txBox="1">
            <a:spLocks/>
          </p:cNvSpPr>
          <p:nvPr/>
        </p:nvSpPr>
        <p:spPr>
          <a:xfrm>
            <a:off x="449262" y="496570"/>
            <a:ext cx="9865812" cy="356283"/>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Aplicación del protocolo</a:t>
            </a:r>
          </a:p>
        </p:txBody>
      </p:sp>
      <p:sp>
        <p:nvSpPr>
          <p:cNvPr id="9" name="Text Placeholder 15">
            <a:extLst>
              <a:ext uri="{FF2B5EF4-FFF2-40B4-BE49-F238E27FC236}">
                <a16:creationId xmlns:a16="http://schemas.microsoft.com/office/drawing/2014/main" xmlns="" id="{49DB77B2-4B58-3A48-88CA-EDE0BCA8B5E7}"/>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Medium" pitchFamily="2" charset="77"/>
              </a:rPr>
              <a:t>Planificación y organización</a:t>
            </a:r>
          </a:p>
        </p:txBody>
      </p:sp>
      <p:pic>
        <p:nvPicPr>
          <p:cNvPr id="10" name="Imagen 9">
            <a:extLst>
              <a:ext uri="{FF2B5EF4-FFF2-40B4-BE49-F238E27FC236}">
                <a16:creationId xmlns:a16="http://schemas.microsoft.com/office/drawing/2014/main" xmlns="" id="{70F1F685-2AED-A743-ADA3-40117CCF0E77}"/>
              </a:ext>
            </a:extLst>
          </p:cNvPr>
          <p:cNvPicPr>
            <a:picLocks noChangeAspect="1"/>
          </p:cNvPicPr>
          <p:nvPr/>
        </p:nvPicPr>
        <p:blipFill>
          <a:blip r:embed="rId3"/>
          <a:stretch>
            <a:fillRect/>
          </a:stretch>
        </p:blipFill>
        <p:spPr>
          <a:xfrm>
            <a:off x="1822451" y="1965143"/>
            <a:ext cx="461594" cy="758065"/>
          </a:xfrm>
          <a:prstGeom prst="rect">
            <a:avLst/>
          </a:prstGeom>
        </p:spPr>
      </p:pic>
      <p:pic>
        <p:nvPicPr>
          <p:cNvPr id="11" name="Imagen 10">
            <a:extLst>
              <a:ext uri="{FF2B5EF4-FFF2-40B4-BE49-F238E27FC236}">
                <a16:creationId xmlns:a16="http://schemas.microsoft.com/office/drawing/2014/main" xmlns="" id="{CC73BF20-2DF1-0742-BC3C-1AFCD41B7AC4}"/>
              </a:ext>
            </a:extLst>
          </p:cNvPr>
          <p:cNvPicPr>
            <a:picLocks noChangeAspect="1"/>
          </p:cNvPicPr>
          <p:nvPr/>
        </p:nvPicPr>
        <p:blipFill>
          <a:blip r:embed="rId4"/>
          <a:stretch>
            <a:fillRect/>
          </a:stretch>
        </p:blipFill>
        <p:spPr>
          <a:xfrm>
            <a:off x="7079955" y="1965143"/>
            <a:ext cx="543744" cy="758066"/>
          </a:xfrm>
          <a:prstGeom prst="rect">
            <a:avLst/>
          </a:prstGeom>
        </p:spPr>
      </p:pic>
      <p:sp>
        <p:nvSpPr>
          <p:cNvPr id="14" name="Marcador de texto 5">
            <a:extLst>
              <a:ext uri="{FF2B5EF4-FFF2-40B4-BE49-F238E27FC236}">
                <a16:creationId xmlns:a16="http://schemas.microsoft.com/office/drawing/2014/main" xmlns="" id="{274D35AC-0DD8-6643-954F-84B0E9EE93E4}"/>
              </a:ext>
            </a:extLst>
          </p:cNvPr>
          <p:cNvSpPr txBox="1">
            <a:spLocks/>
          </p:cNvSpPr>
          <p:nvPr/>
        </p:nvSpPr>
        <p:spPr>
          <a:xfrm>
            <a:off x="449262" y="1539082"/>
            <a:ext cx="3688785" cy="1229184"/>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En el contexto de tareas que involucran exposición directa a condiciones hiperbáricas, es fundamental la existencia y aplicación de:</a:t>
            </a:r>
          </a:p>
        </p:txBody>
      </p:sp>
      <p:sp>
        <p:nvSpPr>
          <p:cNvPr id="16" name="Freeform 6">
            <a:extLst>
              <a:ext uri="{FF2B5EF4-FFF2-40B4-BE49-F238E27FC236}">
                <a16:creationId xmlns:a16="http://schemas.microsoft.com/office/drawing/2014/main" xmlns="" id="{AA7A8082-4124-AE4E-993F-DCC03812B448}"/>
              </a:ext>
            </a:extLst>
          </p:cNvPr>
          <p:cNvSpPr/>
          <p:nvPr/>
        </p:nvSpPr>
        <p:spPr>
          <a:xfrm>
            <a:off x="769300" y="4159153"/>
            <a:ext cx="2490213" cy="1900817"/>
          </a:xfrm>
          <a:custGeom>
            <a:avLst/>
            <a:gdLst>
              <a:gd name="connsiteX0" fmla="*/ 0 w 5614677"/>
              <a:gd name="connsiteY0" fmla="*/ 0 h 918211"/>
              <a:gd name="connsiteX1" fmla="*/ 5614677 w 5614677"/>
              <a:gd name="connsiteY1" fmla="*/ 0 h 918211"/>
              <a:gd name="connsiteX2" fmla="*/ 5614677 w 5614677"/>
              <a:gd name="connsiteY2" fmla="*/ 918211 h 918211"/>
              <a:gd name="connsiteX3" fmla="*/ 0 w 5614677"/>
              <a:gd name="connsiteY3" fmla="*/ 918211 h 918211"/>
              <a:gd name="connsiteX4" fmla="*/ 0 w 5614677"/>
              <a:gd name="connsiteY4" fmla="*/ 0 h 918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4677" h="918211">
                <a:moveTo>
                  <a:pt x="0" y="0"/>
                </a:moveTo>
                <a:lnTo>
                  <a:pt x="5614677" y="0"/>
                </a:lnTo>
                <a:lnTo>
                  <a:pt x="5614677" y="918211"/>
                </a:lnTo>
                <a:lnTo>
                  <a:pt x="0" y="918211"/>
                </a:lnTo>
                <a:lnTo>
                  <a:pt x="0" y="0"/>
                </a:lnTo>
                <a:close/>
              </a:path>
            </a:pathLst>
          </a:custGeom>
          <a:solidFill>
            <a:schemeClr val="tx2"/>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16000" tIns="50400" rIns="108000" bIns="49530" numCol="1" spcCol="1270" anchor="ctr" anchorCtr="0">
            <a:noAutofit/>
          </a:bodyPr>
          <a:lstStyle/>
          <a:p>
            <a:pPr defTabSz="577850">
              <a:lnSpc>
                <a:spcPct val="90000"/>
              </a:lnSpc>
              <a:spcBef>
                <a:spcPct val="0"/>
              </a:spcBef>
              <a:spcAft>
                <a:spcPct val="35000"/>
              </a:spcAft>
            </a:pPr>
            <a:r>
              <a:rPr lang="es-ES" altLang="es-CL" sz="1600" dirty="0">
                <a:solidFill>
                  <a:schemeClr val="tx1"/>
                </a:solidFill>
                <a:latin typeface="ACHS Nueva Sans" pitchFamily="2" charset="0"/>
                <a:ea typeface="+mj-ea"/>
                <a:cs typeface="Arial"/>
              </a:rPr>
              <a:t>Política de seguridad</a:t>
            </a:r>
          </a:p>
        </p:txBody>
      </p:sp>
      <p:sp>
        <p:nvSpPr>
          <p:cNvPr id="17" name="Freeform 6">
            <a:extLst>
              <a:ext uri="{FF2B5EF4-FFF2-40B4-BE49-F238E27FC236}">
                <a16:creationId xmlns:a16="http://schemas.microsoft.com/office/drawing/2014/main" xmlns="" id="{5D15E904-558F-1440-909F-1E503B581DC6}"/>
              </a:ext>
            </a:extLst>
          </p:cNvPr>
          <p:cNvSpPr/>
          <p:nvPr/>
        </p:nvSpPr>
        <p:spPr>
          <a:xfrm>
            <a:off x="4908163" y="4159153"/>
            <a:ext cx="2511749" cy="1922398"/>
          </a:xfrm>
          <a:custGeom>
            <a:avLst/>
            <a:gdLst>
              <a:gd name="connsiteX0" fmla="*/ 0 w 5614677"/>
              <a:gd name="connsiteY0" fmla="*/ 0 h 918211"/>
              <a:gd name="connsiteX1" fmla="*/ 5614677 w 5614677"/>
              <a:gd name="connsiteY1" fmla="*/ 0 h 918211"/>
              <a:gd name="connsiteX2" fmla="*/ 5614677 w 5614677"/>
              <a:gd name="connsiteY2" fmla="*/ 918211 h 918211"/>
              <a:gd name="connsiteX3" fmla="*/ 0 w 5614677"/>
              <a:gd name="connsiteY3" fmla="*/ 918211 h 918211"/>
              <a:gd name="connsiteX4" fmla="*/ 0 w 5614677"/>
              <a:gd name="connsiteY4" fmla="*/ 0 h 918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4677" h="918211">
                <a:moveTo>
                  <a:pt x="0" y="0"/>
                </a:moveTo>
                <a:lnTo>
                  <a:pt x="5614677" y="0"/>
                </a:lnTo>
                <a:lnTo>
                  <a:pt x="5614677" y="918211"/>
                </a:lnTo>
                <a:lnTo>
                  <a:pt x="0" y="918211"/>
                </a:lnTo>
                <a:lnTo>
                  <a:pt x="0" y="0"/>
                </a:lnTo>
                <a:close/>
              </a:path>
            </a:pathLst>
          </a:custGeom>
          <a:solidFill>
            <a:schemeClr val="tx2"/>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16000" tIns="50400" rIns="108000" bIns="49530" numCol="1" spcCol="1270" anchor="ctr" anchorCtr="0">
            <a:noAutofit/>
          </a:bodyPr>
          <a:lstStyle/>
          <a:p>
            <a:pPr defTabSz="577850">
              <a:lnSpc>
                <a:spcPct val="90000"/>
              </a:lnSpc>
              <a:spcBef>
                <a:spcPct val="0"/>
              </a:spcBef>
              <a:spcAft>
                <a:spcPct val="35000"/>
              </a:spcAft>
            </a:pPr>
            <a:r>
              <a:rPr lang="es-ES" altLang="es-CL" sz="1600" dirty="0">
                <a:solidFill>
                  <a:schemeClr val="tx1"/>
                </a:solidFill>
                <a:latin typeface="ACHS Nueva Sans" pitchFamily="2" charset="0"/>
                <a:ea typeface="+mj-ea"/>
                <a:cs typeface="Arial"/>
              </a:rPr>
              <a:t>Manual de aplicación, que soporte:</a:t>
            </a:r>
          </a:p>
          <a:p>
            <a:pPr marL="285750" indent="-285750" defTabSz="577850">
              <a:lnSpc>
                <a:spcPct val="90000"/>
              </a:lnSpc>
              <a:spcBef>
                <a:spcPct val="0"/>
              </a:spcBef>
              <a:spcAft>
                <a:spcPct val="35000"/>
              </a:spcAft>
              <a:buClr>
                <a:schemeClr val="accent1"/>
              </a:buClr>
              <a:buFont typeface="Wingdings" pitchFamily="2" charset="2"/>
              <a:buChar char="§"/>
            </a:pPr>
            <a:r>
              <a:rPr lang="es-ES" altLang="es-CL" sz="1600" dirty="0">
                <a:solidFill>
                  <a:schemeClr val="tx1"/>
                </a:solidFill>
                <a:latin typeface="ACHS Nueva Sans" pitchFamily="2" charset="0"/>
                <a:ea typeface="+mj-ea"/>
                <a:cs typeface="Arial"/>
              </a:rPr>
              <a:t>Programas de seguridad </a:t>
            </a:r>
          </a:p>
          <a:p>
            <a:pPr marL="285750" indent="-285750" defTabSz="577850">
              <a:lnSpc>
                <a:spcPct val="90000"/>
              </a:lnSpc>
              <a:spcBef>
                <a:spcPct val="0"/>
              </a:spcBef>
              <a:spcAft>
                <a:spcPct val="35000"/>
              </a:spcAft>
              <a:buClr>
                <a:schemeClr val="accent1"/>
              </a:buClr>
              <a:buFont typeface="Wingdings" pitchFamily="2" charset="2"/>
              <a:buChar char="§"/>
            </a:pPr>
            <a:r>
              <a:rPr lang="es-ES" altLang="es-CL" sz="1600" dirty="0">
                <a:solidFill>
                  <a:schemeClr val="tx1"/>
                </a:solidFill>
                <a:latin typeface="ACHS Nueva Sans" pitchFamily="2" charset="0"/>
                <a:ea typeface="+mj-ea"/>
                <a:cs typeface="Arial"/>
              </a:rPr>
              <a:t>Recursos para la aplicación.</a:t>
            </a:r>
          </a:p>
        </p:txBody>
      </p:sp>
      <p:sp>
        <p:nvSpPr>
          <p:cNvPr id="19" name="Freeform 6">
            <a:extLst>
              <a:ext uri="{FF2B5EF4-FFF2-40B4-BE49-F238E27FC236}">
                <a16:creationId xmlns:a16="http://schemas.microsoft.com/office/drawing/2014/main" xmlns="" id="{D454DEEA-FF1A-4744-8EA5-7A97E8552F41}"/>
              </a:ext>
            </a:extLst>
          </p:cNvPr>
          <p:cNvSpPr/>
          <p:nvPr/>
        </p:nvSpPr>
        <p:spPr>
          <a:xfrm>
            <a:off x="8932486" y="4159153"/>
            <a:ext cx="2490213" cy="1900817"/>
          </a:xfrm>
          <a:custGeom>
            <a:avLst/>
            <a:gdLst>
              <a:gd name="connsiteX0" fmla="*/ 0 w 5614677"/>
              <a:gd name="connsiteY0" fmla="*/ 0 h 918211"/>
              <a:gd name="connsiteX1" fmla="*/ 5614677 w 5614677"/>
              <a:gd name="connsiteY1" fmla="*/ 0 h 918211"/>
              <a:gd name="connsiteX2" fmla="*/ 5614677 w 5614677"/>
              <a:gd name="connsiteY2" fmla="*/ 918211 h 918211"/>
              <a:gd name="connsiteX3" fmla="*/ 0 w 5614677"/>
              <a:gd name="connsiteY3" fmla="*/ 918211 h 918211"/>
              <a:gd name="connsiteX4" fmla="*/ 0 w 5614677"/>
              <a:gd name="connsiteY4" fmla="*/ 0 h 918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4677" h="918211">
                <a:moveTo>
                  <a:pt x="0" y="0"/>
                </a:moveTo>
                <a:lnTo>
                  <a:pt x="5614677" y="0"/>
                </a:lnTo>
                <a:lnTo>
                  <a:pt x="5614677" y="918211"/>
                </a:lnTo>
                <a:lnTo>
                  <a:pt x="0" y="918211"/>
                </a:lnTo>
                <a:lnTo>
                  <a:pt x="0" y="0"/>
                </a:lnTo>
                <a:close/>
              </a:path>
            </a:pathLst>
          </a:custGeom>
          <a:solidFill>
            <a:schemeClr val="tx2"/>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16000" tIns="50400" rIns="108000" bIns="49530" numCol="1" spcCol="1270" anchor="ctr" anchorCtr="0">
            <a:noAutofit/>
          </a:bodyPr>
          <a:lstStyle/>
          <a:p>
            <a:pPr defTabSz="577850">
              <a:lnSpc>
                <a:spcPct val="90000"/>
              </a:lnSpc>
              <a:spcBef>
                <a:spcPct val="0"/>
              </a:spcBef>
              <a:spcAft>
                <a:spcPct val="35000"/>
              </a:spcAft>
            </a:pPr>
            <a:r>
              <a:rPr lang="es-ES" altLang="es-CL" sz="1600" dirty="0">
                <a:solidFill>
                  <a:schemeClr val="tx1"/>
                </a:solidFill>
                <a:latin typeface="ACHS Nueva Sans" pitchFamily="2" charset="0"/>
                <a:ea typeface="+mj-ea"/>
                <a:cs typeface="Arial"/>
              </a:rPr>
              <a:t>Equipo de Salud Ocupacional.</a:t>
            </a:r>
          </a:p>
          <a:p>
            <a:pPr defTabSz="577850">
              <a:lnSpc>
                <a:spcPct val="90000"/>
              </a:lnSpc>
              <a:spcBef>
                <a:spcPct val="0"/>
              </a:spcBef>
              <a:spcAft>
                <a:spcPct val="35000"/>
              </a:spcAft>
            </a:pPr>
            <a:endParaRPr lang="es-ES" altLang="es-CL" sz="1600" dirty="0">
              <a:solidFill>
                <a:schemeClr val="tx1"/>
              </a:solidFill>
              <a:latin typeface="ACHS Nueva Sans" pitchFamily="2" charset="0"/>
              <a:ea typeface="+mj-ea"/>
              <a:cs typeface="Arial"/>
            </a:endParaRPr>
          </a:p>
        </p:txBody>
      </p:sp>
      <p:cxnSp>
        <p:nvCxnSpPr>
          <p:cNvPr id="24" name="Conector recto 23">
            <a:extLst>
              <a:ext uri="{FF2B5EF4-FFF2-40B4-BE49-F238E27FC236}">
                <a16:creationId xmlns:a16="http://schemas.microsoft.com/office/drawing/2014/main" xmlns="" id="{C8942BD5-FBD8-3445-9764-63ED94E3074E}"/>
              </a:ext>
            </a:extLst>
          </p:cNvPr>
          <p:cNvCxnSpPr>
            <a:cxnSpLocks/>
          </p:cNvCxnSpPr>
          <p:nvPr/>
        </p:nvCxnSpPr>
        <p:spPr>
          <a:xfrm>
            <a:off x="4034575" y="4151859"/>
            <a:ext cx="0" cy="1900817"/>
          </a:xfrm>
          <a:prstGeom prst="line">
            <a:avLst/>
          </a:prstGeom>
          <a:noFill/>
          <a:ln w="1270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cxnSp>
        <p:nvCxnSpPr>
          <p:cNvPr id="26" name="Conector recto 25">
            <a:extLst>
              <a:ext uri="{FF2B5EF4-FFF2-40B4-BE49-F238E27FC236}">
                <a16:creationId xmlns:a16="http://schemas.microsoft.com/office/drawing/2014/main" xmlns="" id="{C80A1FCC-76CA-6D42-9C10-F69A634704E3}"/>
              </a:ext>
            </a:extLst>
          </p:cNvPr>
          <p:cNvCxnSpPr>
            <a:cxnSpLocks/>
          </p:cNvCxnSpPr>
          <p:nvPr/>
        </p:nvCxnSpPr>
        <p:spPr>
          <a:xfrm>
            <a:off x="8304548" y="4159153"/>
            <a:ext cx="0" cy="1900817"/>
          </a:xfrm>
          <a:prstGeom prst="line">
            <a:avLst/>
          </a:prstGeom>
          <a:noFill/>
          <a:ln w="1270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27" name="Imagen 26">
            <a:extLst>
              <a:ext uri="{FF2B5EF4-FFF2-40B4-BE49-F238E27FC236}">
                <a16:creationId xmlns:a16="http://schemas.microsoft.com/office/drawing/2014/main" xmlns="" id="{634BFA9E-6DD8-ED43-BCB2-0425EB7659C5}"/>
              </a:ext>
            </a:extLst>
          </p:cNvPr>
          <p:cNvPicPr>
            <a:picLocks noChangeAspect="1"/>
          </p:cNvPicPr>
          <p:nvPr/>
        </p:nvPicPr>
        <p:blipFill>
          <a:blip r:embed="rId5"/>
          <a:stretch>
            <a:fillRect/>
          </a:stretch>
        </p:blipFill>
        <p:spPr>
          <a:xfrm>
            <a:off x="5621047" y="3244745"/>
            <a:ext cx="831271" cy="637203"/>
          </a:xfrm>
          <a:prstGeom prst="rect">
            <a:avLst/>
          </a:prstGeom>
        </p:spPr>
      </p:pic>
      <p:pic>
        <p:nvPicPr>
          <p:cNvPr id="28" name="Imagen 27">
            <a:extLst>
              <a:ext uri="{FF2B5EF4-FFF2-40B4-BE49-F238E27FC236}">
                <a16:creationId xmlns:a16="http://schemas.microsoft.com/office/drawing/2014/main" xmlns="" id="{47168C30-20C5-0746-982D-11F69E16F291}"/>
              </a:ext>
            </a:extLst>
          </p:cNvPr>
          <p:cNvPicPr>
            <a:picLocks noChangeAspect="1"/>
          </p:cNvPicPr>
          <p:nvPr/>
        </p:nvPicPr>
        <p:blipFill>
          <a:blip r:embed="rId6"/>
          <a:stretch>
            <a:fillRect/>
          </a:stretch>
        </p:blipFill>
        <p:spPr>
          <a:xfrm>
            <a:off x="9670692" y="3184315"/>
            <a:ext cx="1013799" cy="758066"/>
          </a:xfrm>
          <a:prstGeom prst="rect">
            <a:avLst/>
          </a:prstGeom>
        </p:spPr>
      </p:pic>
      <p:pic>
        <p:nvPicPr>
          <p:cNvPr id="29" name="Imagen 28">
            <a:extLst>
              <a:ext uri="{FF2B5EF4-FFF2-40B4-BE49-F238E27FC236}">
                <a16:creationId xmlns:a16="http://schemas.microsoft.com/office/drawing/2014/main" xmlns="" id="{82757ED6-FF8B-544C-82DA-2F26D640FA53}"/>
              </a:ext>
            </a:extLst>
          </p:cNvPr>
          <p:cNvPicPr>
            <a:picLocks noChangeAspect="1"/>
          </p:cNvPicPr>
          <p:nvPr/>
        </p:nvPicPr>
        <p:blipFill>
          <a:blip r:embed="rId7"/>
          <a:stretch>
            <a:fillRect/>
          </a:stretch>
        </p:blipFill>
        <p:spPr>
          <a:xfrm>
            <a:off x="1626138" y="3095142"/>
            <a:ext cx="776536" cy="936411"/>
          </a:xfrm>
          <a:prstGeom prst="rect">
            <a:avLst/>
          </a:prstGeom>
        </p:spPr>
      </p:pic>
    </p:spTree>
    <p:custDataLst>
      <p:tags r:id="rId1"/>
    </p:custDataLst>
    <p:extLst>
      <p:ext uri="{BB962C8B-B14F-4D97-AF65-F5344CB8AC3E}">
        <p14:creationId xmlns:p14="http://schemas.microsoft.com/office/powerpoint/2010/main" val="3110329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n 10">
            <a:extLst>
              <a:ext uri="{FF2B5EF4-FFF2-40B4-BE49-F238E27FC236}">
                <a16:creationId xmlns:a16="http://schemas.microsoft.com/office/drawing/2014/main" xmlns="" id="{610A9498-9A13-2842-9855-69D9646A7E57}"/>
              </a:ext>
            </a:extLst>
          </p:cNvPr>
          <p:cNvPicPr>
            <a:picLocks noChangeAspect="1"/>
          </p:cNvPicPr>
          <p:nvPr/>
        </p:nvPicPr>
        <p:blipFill rotWithShape="1">
          <a:blip r:embed="rId3"/>
          <a:srcRect l="1964" t="12720" r="15748" b="21122"/>
          <a:stretch/>
        </p:blipFill>
        <p:spPr>
          <a:xfrm>
            <a:off x="4473575" y="1539083"/>
            <a:ext cx="7718425" cy="5318918"/>
          </a:xfrm>
          <a:prstGeom prst="rect">
            <a:avLst/>
          </a:prstGeom>
        </p:spPr>
      </p:pic>
      <p:sp>
        <p:nvSpPr>
          <p:cNvPr id="8" name="Text Placeholder 14">
            <a:extLst>
              <a:ext uri="{FF2B5EF4-FFF2-40B4-BE49-F238E27FC236}">
                <a16:creationId xmlns:a16="http://schemas.microsoft.com/office/drawing/2014/main" xmlns="" id="{CFADF840-57C7-D441-A451-EFB8D4897F55}"/>
              </a:ext>
            </a:extLst>
          </p:cNvPr>
          <p:cNvSpPr txBox="1">
            <a:spLocks/>
          </p:cNvSpPr>
          <p:nvPr/>
        </p:nvSpPr>
        <p:spPr>
          <a:xfrm>
            <a:off x="449262" y="496570"/>
            <a:ext cx="9865812" cy="64038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Aplicación del protocolo</a:t>
            </a:r>
          </a:p>
        </p:txBody>
      </p:sp>
      <p:sp>
        <p:nvSpPr>
          <p:cNvPr id="9" name="Text Placeholder 15">
            <a:extLst>
              <a:ext uri="{FF2B5EF4-FFF2-40B4-BE49-F238E27FC236}">
                <a16:creationId xmlns:a16="http://schemas.microsoft.com/office/drawing/2014/main" xmlns="" id="{E7A9C5CB-022B-FE4D-A683-F6D1FDA9723B}"/>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Medium" pitchFamily="2" charset="77"/>
              </a:rPr>
              <a:t>Funciones del equipo de salud ocupacional (8)</a:t>
            </a:r>
          </a:p>
        </p:txBody>
      </p:sp>
      <p:sp>
        <p:nvSpPr>
          <p:cNvPr id="10" name="Marcador de texto 5">
            <a:extLst>
              <a:ext uri="{FF2B5EF4-FFF2-40B4-BE49-F238E27FC236}">
                <a16:creationId xmlns:a16="http://schemas.microsoft.com/office/drawing/2014/main" xmlns="" id="{F7CBFC27-2D3A-544B-BFE1-30B4F5658EF6}"/>
              </a:ext>
            </a:extLst>
          </p:cNvPr>
          <p:cNvSpPr txBox="1">
            <a:spLocks/>
          </p:cNvSpPr>
          <p:nvPr/>
        </p:nvSpPr>
        <p:spPr>
          <a:xfrm>
            <a:off x="449263" y="1539082"/>
            <a:ext cx="2960364" cy="48223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342900" indent="-342900">
              <a:lnSpc>
                <a:spcPct val="100000"/>
              </a:lnSpc>
              <a:spcBef>
                <a:spcPts val="1650"/>
              </a:spcBef>
              <a:buClr>
                <a:schemeClr val="accent1"/>
              </a:buClr>
              <a:buFont typeface="+mj-lt"/>
              <a:buAutoNum type="arabicPeriod"/>
            </a:pPr>
            <a:r>
              <a:rPr lang="es-ES" dirty="0">
                <a:solidFill>
                  <a:schemeClr val="tx1"/>
                </a:solidFill>
                <a:effectLst/>
                <a:latin typeface="ACHS Nueva Sans Medium" pitchFamily="2" charset="77"/>
              </a:rPr>
              <a:t>Identificar tareas y procesos donde existe exposición.</a:t>
            </a:r>
          </a:p>
          <a:p>
            <a:pPr marL="342900" indent="-342900">
              <a:lnSpc>
                <a:spcPct val="100000"/>
              </a:lnSpc>
              <a:spcBef>
                <a:spcPts val="1650"/>
              </a:spcBef>
              <a:buClr>
                <a:schemeClr val="accent1"/>
              </a:buClr>
              <a:buFont typeface="+mj-lt"/>
              <a:buAutoNum type="arabicPeriod"/>
            </a:pPr>
            <a:r>
              <a:rPr lang="es-ES" dirty="0">
                <a:solidFill>
                  <a:schemeClr val="tx1"/>
                </a:solidFill>
                <a:effectLst/>
                <a:latin typeface="ACHS Nueva Sans Medium" pitchFamily="2" charset="77"/>
              </a:rPr>
              <a:t>Difundir entre los trabajadores la existencia del programa de vigilancia para agente Hiperbaria.</a:t>
            </a:r>
          </a:p>
          <a:p>
            <a:pPr marL="342900" indent="-342900">
              <a:lnSpc>
                <a:spcPct val="100000"/>
              </a:lnSpc>
              <a:spcBef>
                <a:spcPts val="1650"/>
              </a:spcBef>
              <a:buClr>
                <a:schemeClr val="accent1"/>
              </a:buClr>
              <a:buFont typeface="+mj-lt"/>
              <a:buAutoNum type="arabicPeriod"/>
            </a:pPr>
            <a:r>
              <a:rPr lang="es-ES" dirty="0">
                <a:solidFill>
                  <a:schemeClr val="tx1"/>
                </a:solidFill>
                <a:effectLst/>
                <a:latin typeface="ACHS Nueva Sans Medium" pitchFamily="2" charset="77"/>
              </a:rPr>
              <a:t>Realizar exámenes pre ocupacionales a los trabajadores antes de contratación.</a:t>
            </a:r>
          </a:p>
          <a:p>
            <a:pPr marL="342900" indent="-342900">
              <a:lnSpc>
                <a:spcPct val="100000"/>
              </a:lnSpc>
              <a:spcBef>
                <a:spcPts val="1650"/>
              </a:spcBef>
              <a:buClr>
                <a:schemeClr val="accent1"/>
              </a:buClr>
              <a:buFont typeface="+mj-lt"/>
              <a:buAutoNum type="arabicPeriod"/>
            </a:pPr>
            <a:r>
              <a:rPr lang="es-ES" dirty="0">
                <a:solidFill>
                  <a:schemeClr val="tx1"/>
                </a:solidFill>
                <a:effectLst/>
                <a:latin typeface="ACHS Nueva Sans Medium" pitchFamily="2" charset="77"/>
              </a:rPr>
              <a:t>Identificar los trabajadores expuestos y generar nómina para el programa de vigilancia del OAL.</a:t>
            </a:r>
          </a:p>
        </p:txBody>
      </p:sp>
    </p:spTree>
    <p:custDataLst>
      <p:tags r:id="rId1"/>
    </p:custDataLst>
    <p:extLst>
      <p:ext uri="{BB962C8B-B14F-4D97-AF65-F5344CB8AC3E}">
        <p14:creationId xmlns:p14="http://schemas.microsoft.com/office/powerpoint/2010/main" val="3801720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4">
            <a:extLst>
              <a:ext uri="{FF2B5EF4-FFF2-40B4-BE49-F238E27FC236}">
                <a16:creationId xmlns:a16="http://schemas.microsoft.com/office/drawing/2014/main" xmlns="" id="{CFADF840-57C7-D441-A451-EFB8D4897F55}"/>
              </a:ext>
            </a:extLst>
          </p:cNvPr>
          <p:cNvSpPr txBox="1">
            <a:spLocks/>
          </p:cNvSpPr>
          <p:nvPr/>
        </p:nvSpPr>
        <p:spPr>
          <a:xfrm>
            <a:off x="449262" y="496570"/>
            <a:ext cx="9865812" cy="64038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Aplicación del protocolo</a:t>
            </a:r>
          </a:p>
        </p:txBody>
      </p:sp>
      <p:sp>
        <p:nvSpPr>
          <p:cNvPr id="9" name="Text Placeholder 15">
            <a:extLst>
              <a:ext uri="{FF2B5EF4-FFF2-40B4-BE49-F238E27FC236}">
                <a16:creationId xmlns:a16="http://schemas.microsoft.com/office/drawing/2014/main" xmlns="" id="{E7A9C5CB-022B-FE4D-A683-F6D1FDA9723B}"/>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Medium" pitchFamily="2" charset="77"/>
              </a:rPr>
              <a:t>Funciones del equipo de salud ocupacional (8)</a:t>
            </a:r>
          </a:p>
        </p:txBody>
      </p:sp>
      <p:sp>
        <p:nvSpPr>
          <p:cNvPr id="10" name="Marcador de texto 5">
            <a:extLst>
              <a:ext uri="{FF2B5EF4-FFF2-40B4-BE49-F238E27FC236}">
                <a16:creationId xmlns:a16="http://schemas.microsoft.com/office/drawing/2014/main" xmlns="" id="{F7CBFC27-2D3A-544B-BFE1-30B4F5658EF6}"/>
              </a:ext>
            </a:extLst>
          </p:cNvPr>
          <p:cNvSpPr txBox="1">
            <a:spLocks/>
          </p:cNvSpPr>
          <p:nvPr/>
        </p:nvSpPr>
        <p:spPr>
          <a:xfrm>
            <a:off x="449263" y="1539082"/>
            <a:ext cx="3270330" cy="507857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342900" indent="-342900">
              <a:lnSpc>
                <a:spcPct val="100000"/>
              </a:lnSpc>
              <a:spcBef>
                <a:spcPts val="1050"/>
              </a:spcBef>
              <a:buClr>
                <a:schemeClr val="accent1"/>
              </a:buClr>
              <a:buFont typeface="+mj-lt"/>
              <a:buAutoNum type="arabicPeriod" startAt="5"/>
            </a:pPr>
            <a:r>
              <a:rPr lang="es-ES" dirty="0">
                <a:solidFill>
                  <a:schemeClr val="tx1"/>
                </a:solidFill>
                <a:effectLst/>
                <a:latin typeface="ACHS Nueva Sans Medium" pitchFamily="2" charset="77"/>
              </a:rPr>
              <a:t>Enviar a trabajadores expuestos a Programa de Vigilancia de la Salud en OAL.</a:t>
            </a:r>
          </a:p>
          <a:p>
            <a:pPr marL="342900" indent="-342900">
              <a:lnSpc>
                <a:spcPct val="100000"/>
              </a:lnSpc>
              <a:spcBef>
                <a:spcPts val="1050"/>
              </a:spcBef>
              <a:buClr>
                <a:schemeClr val="accent1"/>
              </a:buClr>
              <a:buFont typeface="+mj-lt"/>
              <a:buAutoNum type="arabicPeriod" startAt="5"/>
            </a:pPr>
            <a:r>
              <a:rPr lang="es-ES" dirty="0">
                <a:solidFill>
                  <a:schemeClr val="tx1"/>
                </a:solidFill>
                <a:effectLst/>
                <a:latin typeface="ACHS Nueva Sans Medium" pitchFamily="2" charset="77"/>
              </a:rPr>
              <a:t>Realizar actualización anual de nómina de expuestos e Informar al OAL.</a:t>
            </a:r>
          </a:p>
          <a:p>
            <a:pPr marL="342900" indent="-342900">
              <a:lnSpc>
                <a:spcPct val="100000"/>
              </a:lnSpc>
              <a:spcBef>
                <a:spcPts val="1050"/>
              </a:spcBef>
              <a:buClr>
                <a:schemeClr val="accent1"/>
              </a:buClr>
              <a:buFont typeface="+mj-lt"/>
              <a:buAutoNum type="arabicPeriod" startAt="5"/>
            </a:pPr>
            <a:r>
              <a:rPr lang="es-ES" dirty="0">
                <a:solidFill>
                  <a:schemeClr val="tx1"/>
                </a:solidFill>
                <a:effectLst/>
                <a:latin typeface="ACHS Nueva Sans Medium" pitchFamily="2" charset="77"/>
              </a:rPr>
              <a:t>Informar al OAL en caso de cambio de puesto de trabajo que implique condición de exposición diferente a la evaluada, a fin de incorporar las nóminas y evaluación de exposición correspondiente.</a:t>
            </a:r>
          </a:p>
          <a:p>
            <a:pPr marL="342900" indent="-342900">
              <a:lnSpc>
                <a:spcPct val="100000"/>
              </a:lnSpc>
              <a:spcBef>
                <a:spcPts val="1050"/>
              </a:spcBef>
              <a:buClr>
                <a:schemeClr val="accent1"/>
              </a:buClr>
              <a:buFont typeface="+mj-lt"/>
              <a:buAutoNum type="arabicPeriod" startAt="5"/>
            </a:pPr>
            <a:r>
              <a:rPr lang="es-ES" dirty="0">
                <a:solidFill>
                  <a:schemeClr val="tx1"/>
                </a:solidFill>
                <a:effectLst/>
                <a:latin typeface="ACHS Nueva Sans Medium" pitchFamily="2" charset="77"/>
              </a:rPr>
              <a:t>Gestionar, a través de Plan de Acción propuesto, la aplicación de las diferentes medidas recomendadas en cada una de las Evaluaciones Cualitativas realizadas.</a:t>
            </a:r>
          </a:p>
        </p:txBody>
      </p:sp>
      <p:pic>
        <p:nvPicPr>
          <p:cNvPr id="7" name="Imagen 6">
            <a:extLst>
              <a:ext uri="{FF2B5EF4-FFF2-40B4-BE49-F238E27FC236}">
                <a16:creationId xmlns:a16="http://schemas.microsoft.com/office/drawing/2014/main" xmlns="" id="{BB999ABB-06F1-B047-855D-B49B6558C13F}"/>
              </a:ext>
            </a:extLst>
          </p:cNvPr>
          <p:cNvPicPr>
            <a:picLocks noChangeAspect="1"/>
          </p:cNvPicPr>
          <p:nvPr/>
        </p:nvPicPr>
        <p:blipFill rotWithShape="1">
          <a:blip r:embed="rId3"/>
          <a:srcRect l="1964" t="12720" r="15748" b="21122"/>
          <a:stretch/>
        </p:blipFill>
        <p:spPr>
          <a:xfrm>
            <a:off x="4473575" y="1539083"/>
            <a:ext cx="7718425" cy="5318918"/>
          </a:xfrm>
          <a:prstGeom prst="rect">
            <a:avLst/>
          </a:prstGeom>
        </p:spPr>
      </p:pic>
    </p:spTree>
    <p:custDataLst>
      <p:tags r:id="rId1"/>
    </p:custDataLst>
    <p:extLst>
      <p:ext uri="{BB962C8B-B14F-4D97-AF65-F5344CB8AC3E}">
        <p14:creationId xmlns:p14="http://schemas.microsoft.com/office/powerpoint/2010/main" val="1826953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a:extLst>
              <a:ext uri="{FF2B5EF4-FFF2-40B4-BE49-F238E27FC236}">
                <a16:creationId xmlns:a16="http://schemas.microsoft.com/office/drawing/2014/main" xmlns="" id="{CAEB51B7-9CD6-F04A-A241-2448B77C1202}"/>
              </a:ext>
            </a:extLst>
          </p:cNvPr>
          <p:cNvPicPr>
            <a:picLocks noChangeAspect="1"/>
          </p:cNvPicPr>
          <p:nvPr/>
        </p:nvPicPr>
        <p:blipFill rotWithShape="1">
          <a:blip r:embed="rId4">
            <a:extLst>
              <a:ext uri="{28A0092B-C50C-407E-A947-70E740481C1C}">
                <a14:useLocalDpi xmlns:a14="http://schemas.microsoft.com/office/drawing/2010/main" val="0"/>
              </a:ext>
            </a:extLst>
          </a:blip>
          <a:srcRect l="3796" t="2584" r="4841" b="2687"/>
          <a:stretch/>
        </p:blipFill>
        <p:spPr>
          <a:xfrm>
            <a:off x="4473575" y="1516163"/>
            <a:ext cx="7718425" cy="5341838"/>
          </a:xfrm>
          <a:prstGeom prst="rect">
            <a:avLst/>
          </a:prstGeom>
        </p:spPr>
      </p:pic>
      <p:sp>
        <p:nvSpPr>
          <p:cNvPr id="8" name="Text Placeholder 14">
            <a:extLst>
              <a:ext uri="{FF2B5EF4-FFF2-40B4-BE49-F238E27FC236}">
                <a16:creationId xmlns:a16="http://schemas.microsoft.com/office/drawing/2014/main" xmlns="" id="{4BF8D696-E7C0-CB42-A962-33B788528F6B}"/>
              </a:ext>
            </a:extLst>
          </p:cNvPr>
          <p:cNvSpPr txBox="1">
            <a:spLocks/>
          </p:cNvSpPr>
          <p:nvPr/>
        </p:nvSpPr>
        <p:spPr>
          <a:xfrm>
            <a:off x="449262" y="496570"/>
            <a:ext cx="9865812" cy="479823"/>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Fuentes de exposición laboral</a:t>
            </a:r>
          </a:p>
        </p:txBody>
      </p:sp>
      <p:sp>
        <p:nvSpPr>
          <p:cNvPr id="9" name="Text Placeholder 15">
            <a:extLst>
              <a:ext uri="{FF2B5EF4-FFF2-40B4-BE49-F238E27FC236}">
                <a16:creationId xmlns:a16="http://schemas.microsoft.com/office/drawing/2014/main" xmlns="" id="{FC3D44B4-8194-2647-BDB2-E246C96370F1}"/>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Medium" pitchFamily="2" charset="77"/>
              </a:rPr>
              <a:t>Identificación de tareas</a:t>
            </a:r>
          </a:p>
        </p:txBody>
      </p:sp>
      <p:sp>
        <p:nvSpPr>
          <p:cNvPr id="10" name="Marcador de texto 5">
            <a:extLst>
              <a:ext uri="{FF2B5EF4-FFF2-40B4-BE49-F238E27FC236}">
                <a16:creationId xmlns:a16="http://schemas.microsoft.com/office/drawing/2014/main" xmlns="" id="{B02E0A7F-C39D-6949-906A-ACE604F21278}"/>
              </a:ext>
            </a:extLst>
          </p:cNvPr>
          <p:cNvSpPr txBox="1">
            <a:spLocks/>
          </p:cNvSpPr>
          <p:nvPr/>
        </p:nvSpPr>
        <p:spPr>
          <a:xfrm>
            <a:off x="449263" y="1539082"/>
            <a:ext cx="3022357" cy="48223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650"/>
              </a:spcBef>
              <a:buClr>
                <a:schemeClr val="accent1"/>
              </a:buClr>
            </a:pPr>
            <a:r>
              <a:rPr lang="es-ES" b="1" dirty="0">
                <a:effectLst/>
                <a:latin typeface="ACHS Nueva Sans Medium" pitchFamily="2" charset="77"/>
              </a:rPr>
              <a:t>Se consideran fuentes de exposición laboral, las tareas que involucran exposición a condiciones hiperbáricas en: </a:t>
            </a:r>
            <a:endParaRPr lang="es-ES" b="1" dirty="0">
              <a:latin typeface="ACHS Nueva Sans Medium" pitchFamily="2" charset="77"/>
            </a:endParaRPr>
          </a:p>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Labores de buceo en la Industria General. </a:t>
            </a:r>
          </a:p>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Labores de buceo en la Industria Acuicultura (piscicultura y cultivos).</a:t>
            </a:r>
          </a:p>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Tareas de asistencia en cámaras hiperbáricas en entornos clínicos.</a:t>
            </a:r>
          </a:p>
          <a:p>
            <a:pPr marL="285750" indent="-285750">
              <a:lnSpc>
                <a:spcPct val="100000"/>
              </a:lnSpc>
              <a:spcBef>
                <a:spcPts val="1650"/>
              </a:spcBef>
              <a:buClr>
                <a:schemeClr val="accent1"/>
              </a:buClr>
              <a:buFont typeface="Wingdings" pitchFamily="2" charset="2"/>
              <a:buChar char="§"/>
            </a:pPr>
            <a:r>
              <a:rPr lang="es-ES" dirty="0">
                <a:solidFill>
                  <a:schemeClr val="tx1"/>
                </a:solidFill>
                <a:effectLst/>
                <a:latin typeface="ACHS Nueva Sans Medium" pitchFamily="2" charset="77"/>
              </a:rPr>
              <a:t>Trabajos en entornos de aire comprimido (cajones de aire comprimido y perforación de túneles).</a:t>
            </a:r>
          </a:p>
        </p:txBody>
      </p:sp>
    </p:spTree>
    <p:custDataLst>
      <p:tags r:id="rId1"/>
    </p:custDataLst>
    <p:extLst>
      <p:ext uri="{BB962C8B-B14F-4D97-AF65-F5344CB8AC3E}">
        <p14:creationId xmlns:p14="http://schemas.microsoft.com/office/powerpoint/2010/main" val="974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xmlns="" id="{23AD2EAB-9EB9-F04C-B674-B04300E74D63}"/>
              </a:ext>
            </a:extLst>
          </p:cNvPr>
          <p:cNvPicPr>
            <a:picLocks noChangeAspect="1"/>
          </p:cNvPicPr>
          <p:nvPr/>
        </p:nvPicPr>
        <p:blipFill rotWithShape="1">
          <a:blip r:embed="rId4">
            <a:extLst>
              <a:ext uri="{28A0092B-C50C-407E-A947-70E740481C1C}">
                <a14:useLocalDpi xmlns:a14="http://schemas.microsoft.com/office/drawing/2010/main" val="0"/>
              </a:ext>
            </a:extLst>
          </a:blip>
          <a:srcRect l="8016" t="5970" r="13749" b="4358"/>
          <a:stretch/>
        </p:blipFill>
        <p:spPr>
          <a:xfrm>
            <a:off x="4473575" y="1549831"/>
            <a:ext cx="7718425" cy="5308169"/>
          </a:xfrm>
          <a:prstGeom prst="rect">
            <a:avLst/>
          </a:prstGeom>
        </p:spPr>
      </p:pic>
      <p:sp>
        <p:nvSpPr>
          <p:cNvPr id="8" name="Text Placeholder 14">
            <a:extLst>
              <a:ext uri="{FF2B5EF4-FFF2-40B4-BE49-F238E27FC236}">
                <a16:creationId xmlns:a16="http://schemas.microsoft.com/office/drawing/2014/main" xmlns="" id="{4BF8D696-E7C0-CB42-A962-33B788528F6B}"/>
              </a:ext>
            </a:extLst>
          </p:cNvPr>
          <p:cNvSpPr txBox="1">
            <a:spLocks/>
          </p:cNvSpPr>
          <p:nvPr/>
        </p:nvSpPr>
        <p:spPr>
          <a:xfrm>
            <a:off x="449262" y="496570"/>
            <a:ext cx="9865812" cy="479823"/>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Definición de trabajador expuesto</a:t>
            </a:r>
          </a:p>
        </p:txBody>
      </p:sp>
      <p:sp>
        <p:nvSpPr>
          <p:cNvPr id="10" name="Marcador de texto 5">
            <a:extLst>
              <a:ext uri="{FF2B5EF4-FFF2-40B4-BE49-F238E27FC236}">
                <a16:creationId xmlns:a16="http://schemas.microsoft.com/office/drawing/2014/main" xmlns="" id="{B02E0A7F-C39D-6949-906A-ACE604F21278}"/>
              </a:ext>
            </a:extLst>
          </p:cNvPr>
          <p:cNvSpPr txBox="1">
            <a:spLocks/>
          </p:cNvSpPr>
          <p:nvPr/>
        </p:nvSpPr>
        <p:spPr>
          <a:xfrm>
            <a:off x="449262" y="1017826"/>
            <a:ext cx="3440813" cy="5599826"/>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650"/>
              </a:spcBef>
              <a:buClr>
                <a:schemeClr val="accent1"/>
              </a:buClr>
            </a:pPr>
            <a:r>
              <a:rPr lang="es-ES" dirty="0">
                <a:solidFill>
                  <a:schemeClr val="tx1"/>
                </a:solidFill>
                <a:effectLst/>
                <a:latin typeface="ACHS Nueva Sans Medium" pitchFamily="2" charset="77"/>
              </a:rPr>
              <a:t>Trabajador/a que se desempeña laboralmente, en algún momento de su jornada, en condiciones de presión ambiental superior a 1 atmósfera absoluta (ATA).</a:t>
            </a:r>
          </a:p>
          <a:p>
            <a:pPr>
              <a:lnSpc>
                <a:spcPct val="100000"/>
              </a:lnSpc>
              <a:spcBef>
                <a:spcPts val="1650"/>
              </a:spcBef>
              <a:buClr>
                <a:schemeClr val="accent1"/>
              </a:buClr>
            </a:pPr>
            <a:r>
              <a:rPr lang="es-ES" dirty="0">
                <a:solidFill>
                  <a:schemeClr val="tx1"/>
                </a:solidFill>
                <a:latin typeface="ACHS Nueva Sans Medium" pitchFamily="2" charset="77"/>
              </a:rPr>
              <a:t>Lo anterior incluye, según la definición señalada en el Reglamento de Buceo para:</a:t>
            </a:r>
          </a:p>
          <a:p>
            <a:pPr marL="285750" indent="-285750">
              <a:lnSpc>
                <a:spcPct val="100000"/>
              </a:lnSpc>
              <a:spcBef>
                <a:spcPts val="1650"/>
              </a:spcBef>
              <a:buClr>
                <a:schemeClr val="accent1"/>
              </a:buClr>
              <a:buFont typeface="Wingdings" pitchFamily="2" charset="2"/>
              <a:buChar char="§"/>
            </a:pPr>
            <a:r>
              <a:rPr lang="es-ES" dirty="0">
                <a:solidFill>
                  <a:schemeClr val="tx1"/>
                </a:solidFill>
                <a:latin typeface="ACHS Nueva Sans Medium" pitchFamily="2" charset="77"/>
              </a:rPr>
              <a:t>Buzos </a:t>
            </a:r>
            <a:r>
              <a:rPr lang="es-ES" dirty="0" smtClean="0">
                <a:solidFill>
                  <a:schemeClr val="tx1"/>
                </a:solidFill>
                <a:latin typeface="ACHS Nueva Sans Medium" pitchFamily="2" charset="77"/>
              </a:rPr>
              <a:t>Profesionales</a:t>
            </a:r>
            <a:endParaRPr lang="es-ES" dirty="0">
              <a:solidFill>
                <a:schemeClr val="tx1"/>
              </a:solidFill>
              <a:latin typeface="ACHS Nueva Sans Medium" pitchFamily="2" charset="77"/>
            </a:endParaRPr>
          </a:p>
          <a:p>
            <a:pPr marL="285750" indent="-285750">
              <a:lnSpc>
                <a:spcPct val="100000"/>
              </a:lnSpc>
              <a:spcBef>
                <a:spcPts val="1650"/>
              </a:spcBef>
              <a:buClr>
                <a:schemeClr val="accent1"/>
              </a:buClr>
              <a:buFont typeface="Wingdings" pitchFamily="2" charset="2"/>
              <a:buChar char="§"/>
            </a:pPr>
            <a:r>
              <a:rPr lang="es-ES" dirty="0">
                <a:solidFill>
                  <a:schemeClr val="tx1"/>
                </a:solidFill>
                <a:latin typeface="ACHS Nueva Sans Medium" pitchFamily="2" charset="77"/>
              </a:rPr>
              <a:t>Buzo </a:t>
            </a:r>
            <a:r>
              <a:rPr lang="es-ES" dirty="0" smtClean="0">
                <a:solidFill>
                  <a:schemeClr val="tx1"/>
                </a:solidFill>
                <a:latin typeface="ACHS Nueva Sans Medium" pitchFamily="2" charset="77"/>
              </a:rPr>
              <a:t>mariscador</a:t>
            </a:r>
            <a:endParaRPr lang="es-ES" dirty="0">
              <a:solidFill>
                <a:schemeClr val="tx1"/>
              </a:solidFill>
              <a:latin typeface="ACHS Nueva Sans Medium" pitchFamily="2" charset="77"/>
            </a:endParaRPr>
          </a:p>
          <a:p>
            <a:pPr marL="285750" indent="-285750">
              <a:lnSpc>
                <a:spcPct val="100000"/>
              </a:lnSpc>
              <a:spcBef>
                <a:spcPts val="1650"/>
              </a:spcBef>
              <a:buClr>
                <a:schemeClr val="accent1"/>
              </a:buClr>
              <a:buFont typeface="Wingdings" pitchFamily="2" charset="2"/>
              <a:buChar char="§"/>
            </a:pPr>
            <a:r>
              <a:rPr lang="es-ES" dirty="0">
                <a:solidFill>
                  <a:schemeClr val="tx1"/>
                </a:solidFill>
                <a:latin typeface="ACHS Nueva Sans Medium" pitchFamily="2" charset="77"/>
              </a:rPr>
              <a:t>Buzo </a:t>
            </a:r>
            <a:r>
              <a:rPr lang="es-ES" dirty="0" smtClean="0">
                <a:solidFill>
                  <a:schemeClr val="tx1"/>
                </a:solidFill>
                <a:latin typeface="ACHS Nueva Sans Medium" pitchFamily="2" charset="77"/>
              </a:rPr>
              <a:t>especialista</a:t>
            </a:r>
            <a:endParaRPr lang="es-ES" dirty="0">
              <a:solidFill>
                <a:schemeClr val="tx1"/>
              </a:solidFill>
              <a:latin typeface="ACHS Nueva Sans Medium" pitchFamily="2" charset="77"/>
            </a:endParaRPr>
          </a:p>
          <a:p>
            <a:pPr marL="285750" indent="-285750">
              <a:lnSpc>
                <a:spcPct val="100000"/>
              </a:lnSpc>
              <a:spcBef>
                <a:spcPts val="1650"/>
              </a:spcBef>
              <a:buClr>
                <a:schemeClr val="accent1"/>
              </a:buClr>
              <a:buFont typeface="Wingdings" pitchFamily="2" charset="2"/>
              <a:buChar char="§"/>
            </a:pPr>
            <a:r>
              <a:rPr lang="es-ES" dirty="0">
                <a:solidFill>
                  <a:schemeClr val="tx1"/>
                </a:solidFill>
                <a:latin typeface="ACHS Nueva Sans Medium" pitchFamily="2" charset="77"/>
              </a:rPr>
              <a:t>Buzo </a:t>
            </a:r>
            <a:r>
              <a:rPr lang="es-ES" dirty="0" smtClean="0">
                <a:solidFill>
                  <a:schemeClr val="tx1"/>
                </a:solidFill>
                <a:latin typeface="ACHS Nueva Sans Medium" pitchFamily="2" charset="77"/>
              </a:rPr>
              <a:t>comercial</a:t>
            </a:r>
            <a:endParaRPr lang="es-ES" dirty="0">
              <a:solidFill>
                <a:schemeClr val="tx1"/>
              </a:solidFill>
              <a:latin typeface="ACHS Nueva Sans Medium" pitchFamily="2" charset="77"/>
            </a:endParaRPr>
          </a:p>
          <a:p>
            <a:pPr marL="285750" indent="-285750">
              <a:lnSpc>
                <a:spcPct val="100000"/>
              </a:lnSpc>
              <a:spcBef>
                <a:spcPts val="1650"/>
              </a:spcBef>
              <a:buClr>
                <a:schemeClr val="accent1"/>
              </a:buClr>
              <a:buFont typeface="Wingdings" pitchFamily="2" charset="2"/>
              <a:buChar char="§"/>
            </a:pPr>
            <a:r>
              <a:rPr lang="es-ES" dirty="0">
                <a:solidFill>
                  <a:schemeClr val="tx1"/>
                </a:solidFill>
                <a:latin typeface="ACHS Nueva Sans Medium" pitchFamily="2" charset="77"/>
              </a:rPr>
              <a:t>Buzo </a:t>
            </a:r>
            <a:r>
              <a:rPr lang="es-ES" dirty="0" smtClean="0">
                <a:solidFill>
                  <a:schemeClr val="tx1"/>
                </a:solidFill>
                <a:latin typeface="ACHS Nueva Sans Medium" pitchFamily="2" charset="77"/>
              </a:rPr>
              <a:t>instructor  </a:t>
            </a:r>
            <a:endParaRPr lang="es-ES" dirty="0">
              <a:solidFill>
                <a:schemeClr val="tx1"/>
              </a:solidFill>
              <a:latin typeface="ACHS Nueva Sans Medium" pitchFamily="2" charset="77"/>
            </a:endParaRPr>
          </a:p>
          <a:p>
            <a:pPr marL="285750" indent="-285750">
              <a:lnSpc>
                <a:spcPct val="100000"/>
              </a:lnSpc>
              <a:spcBef>
                <a:spcPts val="1650"/>
              </a:spcBef>
              <a:buClr>
                <a:schemeClr val="accent1"/>
              </a:buClr>
              <a:buFont typeface="Wingdings" pitchFamily="2" charset="2"/>
              <a:buChar char="§"/>
            </a:pPr>
            <a:r>
              <a:rPr lang="es-ES" dirty="0">
                <a:solidFill>
                  <a:schemeClr val="tx1"/>
                </a:solidFill>
                <a:latin typeface="ACHS Nueva Sans Medium" pitchFamily="2" charset="77"/>
              </a:rPr>
              <a:t>Personal que realiza tareas al interior de cámaras hiperbáricas en entornos clínicos.</a:t>
            </a:r>
          </a:p>
          <a:p>
            <a:pPr>
              <a:lnSpc>
                <a:spcPct val="100000"/>
              </a:lnSpc>
              <a:spcBef>
                <a:spcPts val="1650"/>
              </a:spcBef>
              <a:buClr>
                <a:schemeClr val="accent1"/>
              </a:buClr>
            </a:pPr>
            <a:endParaRPr lang="es-ES" dirty="0">
              <a:solidFill>
                <a:schemeClr val="tx1"/>
              </a:solidFill>
              <a:latin typeface="ACHS Nueva Sans Medium" pitchFamily="2" charset="77"/>
            </a:endParaRPr>
          </a:p>
        </p:txBody>
      </p:sp>
    </p:spTree>
    <p:custDataLst>
      <p:tags r:id="rId1"/>
    </p:custDataLst>
    <p:extLst>
      <p:ext uri="{BB962C8B-B14F-4D97-AF65-F5344CB8AC3E}">
        <p14:creationId xmlns:p14="http://schemas.microsoft.com/office/powerpoint/2010/main" val="2079802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1CC69317-7005-3242-955B-A3336888994E}"/>
              </a:ext>
            </a:extLst>
          </p:cNvPr>
          <p:cNvPicPr>
            <a:picLocks noChangeAspect="1"/>
          </p:cNvPicPr>
          <p:nvPr/>
        </p:nvPicPr>
        <p:blipFill rotWithShape="1">
          <a:blip r:embed="rId4"/>
          <a:srcRect l="2274" t="18881" r="4615" b="24237"/>
          <a:stretch/>
        </p:blipFill>
        <p:spPr>
          <a:xfrm>
            <a:off x="4473575" y="1549830"/>
            <a:ext cx="7718425" cy="5308170"/>
          </a:xfrm>
          <a:prstGeom prst="rect">
            <a:avLst/>
          </a:prstGeom>
        </p:spPr>
      </p:pic>
      <p:sp>
        <p:nvSpPr>
          <p:cNvPr id="8" name="Text Placeholder 14">
            <a:extLst>
              <a:ext uri="{FF2B5EF4-FFF2-40B4-BE49-F238E27FC236}">
                <a16:creationId xmlns:a16="http://schemas.microsoft.com/office/drawing/2014/main" xmlns="" id="{4BF8D696-E7C0-CB42-A962-33B788528F6B}"/>
              </a:ext>
            </a:extLst>
          </p:cNvPr>
          <p:cNvSpPr txBox="1">
            <a:spLocks/>
          </p:cNvSpPr>
          <p:nvPr/>
        </p:nvSpPr>
        <p:spPr>
          <a:xfrm>
            <a:off x="449262" y="496570"/>
            <a:ext cx="9865812" cy="479823"/>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Pauta de verificación del programa:</a:t>
            </a:r>
          </a:p>
        </p:txBody>
      </p:sp>
      <p:sp>
        <p:nvSpPr>
          <p:cNvPr id="10" name="Marcador de texto 5">
            <a:extLst>
              <a:ext uri="{FF2B5EF4-FFF2-40B4-BE49-F238E27FC236}">
                <a16:creationId xmlns:a16="http://schemas.microsoft.com/office/drawing/2014/main" xmlns="" id="{B02E0A7F-C39D-6949-906A-ACE604F21278}"/>
              </a:ext>
            </a:extLst>
          </p:cNvPr>
          <p:cNvSpPr txBox="1">
            <a:spLocks/>
          </p:cNvSpPr>
          <p:nvPr/>
        </p:nvSpPr>
        <p:spPr>
          <a:xfrm>
            <a:off x="449262" y="1549830"/>
            <a:ext cx="3440813" cy="506782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650"/>
              </a:spcBef>
              <a:buClr>
                <a:schemeClr val="accent1"/>
              </a:buClr>
            </a:pPr>
            <a:r>
              <a:rPr lang="es-ES" dirty="0">
                <a:solidFill>
                  <a:schemeClr val="tx1"/>
                </a:solidFill>
                <a:latin typeface="ACHS Nueva Sans Medium" pitchFamily="2" charset="77"/>
              </a:rPr>
              <a:t>Una vez realizada la identificación de tareas y procesos donde existe exposición a condiciones hiperbáricas, corresponde aplicar Pauta de Autoevaluación, definida para  alguno de los cinco grupos de trabajadores expuestos, realizada por la empresa, se debe enviar a ACHS, quien emite informe técnico cualitativo que deberá contar con:</a:t>
            </a:r>
          </a:p>
          <a:p>
            <a:pPr marL="285750" indent="-285750">
              <a:lnSpc>
                <a:spcPct val="100000"/>
              </a:lnSpc>
              <a:spcBef>
                <a:spcPts val="1650"/>
              </a:spcBef>
              <a:buClr>
                <a:schemeClr val="accent1"/>
              </a:buClr>
              <a:buFont typeface="Wingdings" pitchFamily="2" charset="2"/>
              <a:buChar char="§"/>
            </a:pPr>
            <a:r>
              <a:rPr lang="es-ES" dirty="0">
                <a:solidFill>
                  <a:schemeClr val="tx1"/>
                </a:solidFill>
                <a:latin typeface="ACHS Nueva Sans Medium" pitchFamily="2" charset="77"/>
              </a:rPr>
              <a:t>Análisis de </a:t>
            </a:r>
            <a:r>
              <a:rPr lang="es-ES" dirty="0" smtClean="0">
                <a:solidFill>
                  <a:schemeClr val="tx1"/>
                </a:solidFill>
                <a:latin typeface="ACHS Nueva Sans Medium" pitchFamily="2" charset="77"/>
              </a:rPr>
              <a:t>resultados</a:t>
            </a:r>
            <a:endParaRPr lang="es-ES" dirty="0">
              <a:solidFill>
                <a:schemeClr val="tx1"/>
              </a:solidFill>
              <a:latin typeface="ACHS Nueva Sans Medium" pitchFamily="2" charset="77"/>
            </a:endParaRPr>
          </a:p>
          <a:p>
            <a:pPr marL="285750" indent="-285750">
              <a:lnSpc>
                <a:spcPct val="100000"/>
              </a:lnSpc>
              <a:spcBef>
                <a:spcPts val="1650"/>
              </a:spcBef>
              <a:buClr>
                <a:schemeClr val="accent1"/>
              </a:buClr>
              <a:buFont typeface="Wingdings" pitchFamily="2" charset="2"/>
              <a:buChar char="§"/>
            </a:pPr>
            <a:r>
              <a:rPr lang="es-ES" dirty="0" smtClean="0">
                <a:solidFill>
                  <a:schemeClr val="tx1"/>
                </a:solidFill>
                <a:latin typeface="ACHS Nueva Sans Medium" pitchFamily="2" charset="77"/>
              </a:rPr>
              <a:t>Recomendaciones</a:t>
            </a:r>
            <a:endParaRPr lang="es-ES" dirty="0">
              <a:solidFill>
                <a:schemeClr val="tx1"/>
              </a:solidFill>
              <a:latin typeface="ACHS Nueva Sans Medium" pitchFamily="2" charset="77"/>
            </a:endParaRPr>
          </a:p>
          <a:p>
            <a:pPr marL="285750" indent="-285750">
              <a:lnSpc>
                <a:spcPct val="100000"/>
              </a:lnSpc>
              <a:spcBef>
                <a:spcPts val="1650"/>
              </a:spcBef>
              <a:buClr>
                <a:schemeClr val="accent1"/>
              </a:buClr>
              <a:buFont typeface="Wingdings" pitchFamily="2" charset="2"/>
              <a:buChar char="§"/>
            </a:pPr>
            <a:r>
              <a:rPr lang="es-ES" dirty="0">
                <a:solidFill>
                  <a:schemeClr val="tx1"/>
                </a:solidFill>
                <a:latin typeface="ACHS Nueva Sans Medium" pitchFamily="2" charset="77"/>
              </a:rPr>
              <a:t>Plan de </a:t>
            </a:r>
            <a:r>
              <a:rPr lang="es-ES" dirty="0" smtClean="0">
                <a:solidFill>
                  <a:schemeClr val="tx1"/>
                </a:solidFill>
                <a:latin typeface="ACHS Nueva Sans Medium" pitchFamily="2" charset="77"/>
              </a:rPr>
              <a:t>acción</a:t>
            </a:r>
            <a:endParaRPr lang="es-ES" dirty="0">
              <a:solidFill>
                <a:schemeClr val="tx1"/>
              </a:solidFill>
              <a:latin typeface="ACHS Nueva Sans Medium" pitchFamily="2" charset="77"/>
            </a:endParaRPr>
          </a:p>
          <a:p>
            <a:pPr marL="285750" indent="-285750">
              <a:lnSpc>
                <a:spcPct val="100000"/>
              </a:lnSpc>
              <a:spcBef>
                <a:spcPts val="1650"/>
              </a:spcBef>
              <a:buClr>
                <a:schemeClr val="accent1"/>
              </a:buClr>
              <a:buFont typeface="Wingdings" pitchFamily="2" charset="2"/>
              <a:buChar char="§"/>
            </a:pPr>
            <a:r>
              <a:rPr lang="es-ES" dirty="0">
                <a:solidFill>
                  <a:schemeClr val="tx1"/>
                </a:solidFill>
                <a:latin typeface="ACHS Nueva Sans Medium" pitchFamily="2" charset="77"/>
              </a:rPr>
              <a:t>Informe nómina de expuestos (sobre la información remitida por el Equipo de Salud Ocupacional</a:t>
            </a:r>
            <a:r>
              <a:rPr lang="es-ES" dirty="0" smtClean="0">
                <a:solidFill>
                  <a:schemeClr val="tx1"/>
                </a:solidFill>
                <a:latin typeface="ACHS Nueva Sans Medium" pitchFamily="2" charset="77"/>
              </a:rPr>
              <a:t>)</a:t>
            </a:r>
            <a:endParaRPr lang="es-ES" dirty="0">
              <a:solidFill>
                <a:schemeClr val="tx1"/>
              </a:solidFill>
              <a:latin typeface="ACHS Nueva Sans Medium" pitchFamily="2" charset="77"/>
            </a:endParaRPr>
          </a:p>
        </p:txBody>
      </p:sp>
    </p:spTree>
    <p:custDataLst>
      <p:tags r:id="rId1"/>
    </p:custDataLst>
    <p:extLst>
      <p:ext uri="{BB962C8B-B14F-4D97-AF65-F5344CB8AC3E}">
        <p14:creationId xmlns:p14="http://schemas.microsoft.com/office/powerpoint/2010/main" val="4139499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n 10">
            <a:extLst>
              <a:ext uri="{FF2B5EF4-FFF2-40B4-BE49-F238E27FC236}">
                <a16:creationId xmlns:a16="http://schemas.microsoft.com/office/drawing/2014/main" xmlns="" id="{870103EE-9703-904D-B007-6A09CF839692}"/>
              </a:ext>
            </a:extLst>
          </p:cNvPr>
          <p:cNvPicPr>
            <a:picLocks noChangeAspect="1"/>
          </p:cNvPicPr>
          <p:nvPr/>
        </p:nvPicPr>
        <p:blipFill rotWithShape="1">
          <a:blip r:embed="rId4"/>
          <a:srcRect l="2622" t="16644" r="2622" b="24713"/>
          <a:stretch/>
        </p:blipFill>
        <p:spPr>
          <a:xfrm>
            <a:off x="4473575" y="1516163"/>
            <a:ext cx="7718425" cy="5341837"/>
          </a:xfrm>
          <a:prstGeom prst="rect">
            <a:avLst/>
          </a:prstGeom>
        </p:spPr>
      </p:pic>
      <p:sp>
        <p:nvSpPr>
          <p:cNvPr id="8" name="Text Placeholder 14">
            <a:extLst>
              <a:ext uri="{FF2B5EF4-FFF2-40B4-BE49-F238E27FC236}">
                <a16:creationId xmlns:a16="http://schemas.microsoft.com/office/drawing/2014/main" xmlns="" id="{77D2CD8A-622C-1D45-AFC6-DDFF8891DE5B}"/>
              </a:ext>
            </a:extLst>
          </p:cNvPr>
          <p:cNvSpPr txBox="1">
            <a:spLocks/>
          </p:cNvSpPr>
          <p:nvPr/>
        </p:nvSpPr>
        <p:spPr>
          <a:xfrm>
            <a:off x="449262" y="496570"/>
            <a:ext cx="9865812" cy="64038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Conclusión</a:t>
            </a:r>
          </a:p>
        </p:txBody>
      </p:sp>
      <p:sp>
        <p:nvSpPr>
          <p:cNvPr id="10" name="Marcador de texto 5">
            <a:extLst>
              <a:ext uri="{FF2B5EF4-FFF2-40B4-BE49-F238E27FC236}">
                <a16:creationId xmlns:a16="http://schemas.microsoft.com/office/drawing/2014/main" xmlns="" id="{9895AE12-1CBB-FE46-8706-1D596DB61687}"/>
              </a:ext>
            </a:extLst>
          </p:cNvPr>
          <p:cNvSpPr txBox="1">
            <a:spLocks/>
          </p:cNvSpPr>
          <p:nvPr/>
        </p:nvSpPr>
        <p:spPr>
          <a:xfrm>
            <a:off x="449262" y="1275814"/>
            <a:ext cx="3405562" cy="534183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El protocolo deberá ser conocido por los expertos en prevención de riesgos, supervisores de buceo, higienistas industriales, médicos, enfermeras, profesionales de los Organismos Administradores del Seguro de la Ley 16.744, miembros de Comités Paritarios, dirigentes sindicales, y en general todo actor relacionado con actividades de exposición a condiciones hiperbáricas.</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Por ello, recuerda siempre revisar y aplicar las recomendaciones desarrolladas en esta capacitación por tu seguridad y la de tus compañeros. </a:t>
            </a:r>
          </a:p>
          <a:p>
            <a:pPr>
              <a:lnSpc>
                <a:spcPct val="100000"/>
              </a:lnSpc>
              <a:buClr>
                <a:schemeClr val="accent1"/>
              </a:buClr>
            </a:pPr>
            <a:endParaRPr lang="es-ES" dirty="0">
              <a:solidFill>
                <a:schemeClr val="tx1"/>
              </a:solidFill>
              <a:effectLst/>
              <a:latin typeface="ACHS Nueva Sans Medium" pitchFamily="2" charset="77"/>
            </a:endParaRPr>
          </a:p>
        </p:txBody>
      </p:sp>
    </p:spTree>
    <p:custDataLst>
      <p:tags r:id="rId1"/>
    </p:custDataLst>
    <p:extLst>
      <p:ext uri="{BB962C8B-B14F-4D97-AF65-F5344CB8AC3E}">
        <p14:creationId xmlns:p14="http://schemas.microsoft.com/office/powerpoint/2010/main" val="225795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B035BA01-3820-0D49-B44E-B4F99E7447C0}"/>
              </a:ext>
            </a:extLst>
          </p:cNvPr>
          <p:cNvSpPr>
            <a:spLocks noGrp="1"/>
          </p:cNvSpPr>
          <p:nvPr>
            <p:ph type="title"/>
          </p:nvPr>
        </p:nvSpPr>
        <p:spPr/>
        <p:txBody>
          <a:bodyPr/>
          <a:lstStyle/>
          <a:p>
            <a:endParaRPr lang="es-CL"/>
          </a:p>
        </p:txBody>
      </p:sp>
      <p:sp>
        <p:nvSpPr>
          <p:cNvPr id="3" name="Marcador de contenido 2">
            <a:extLst>
              <a:ext uri="{FF2B5EF4-FFF2-40B4-BE49-F238E27FC236}">
                <a16:creationId xmlns="" xmlns:a16="http://schemas.microsoft.com/office/drawing/2014/main" id="{8FF4BCEE-EF67-F649-AF32-944821D8ED18}"/>
              </a:ext>
            </a:extLst>
          </p:cNvPr>
          <p:cNvSpPr>
            <a:spLocks noGrp="1"/>
          </p:cNvSpPr>
          <p:nvPr>
            <p:ph idx="1"/>
          </p:nvPr>
        </p:nvSpPr>
        <p:spPr/>
        <p:txBody>
          <a:bodyPr/>
          <a:lstStyle/>
          <a:p>
            <a:endParaRPr lang="es-CL"/>
          </a:p>
        </p:txBody>
      </p:sp>
      <p:sp>
        <p:nvSpPr>
          <p:cNvPr id="4" name="Rectángulo 3">
            <a:extLst>
              <a:ext uri="{FF2B5EF4-FFF2-40B4-BE49-F238E27FC236}">
                <a16:creationId xmlns="" xmlns:a16="http://schemas.microsoft.com/office/drawing/2014/main" id="{09574CC7-AE90-D142-A007-56E366130952}"/>
              </a:ext>
            </a:extLst>
          </p:cNvPr>
          <p:cNvSpPr/>
          <p:nvPr/>
        </p:nvSpPr>
        <p:spPr>
          <a:xfrm>
            <a:off x="0" y="1180"/>
            <a:ext cx="12192000" cy="6858000"/>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prstClr val="white"/>
              </a:solidFill>
            </a:endParaRPr>
          </a:p>
        </p:txBody>
      </p:sp>
      <p:grpSp>
        <p:nvGrpSpPr>
          <p:cNvPr id="5" name="Group 4">
            <a:extLst>
              <a:ext uri="{FF2B5EF4-FFF2-40B4-BE49-F238E27FC236}">
                <a16:creationId xmlns="" xmlns:a16="http://schemas.microsoft.com/office/drawing/2014/main" id="{22AF48BE-1D16-174E-9D61-AAAA6E1FDA71}"/>
              </a:ext>
            </a:extLst>
          </p:cNvPr>
          <p:cNvGrpSpPr>
            <a:grpSpLocks/>
          </p:cNvGrpSpPr>
          <p:nvPr/>
        </p:nvGrpSpPr>
        <p:grpSpPr bwMode="auto">
          <a:xfrm>
            <a:off x="1357049" y="1571875"/>
            <a:ext cx="2203200" cy="3715200"/>
            <a:chOff x="495" y="1002"/>
            <a:chExt cx="258" cy="473"/>
          </a:xfrm>
          <a:solidFill>
            <a:srgbClr val="0CC144"/>
          </a:solidFill>
        </p:grpSpPr>
        <p:sp>
          <p:nvSpPr>
            <p:cNvPr id="6" name="Freeform 5">
              <a:extLst>
                <a:ext uri="{FF2B5EF4-FFF2-40B4-BE49-F238E27FC236}">
                  <a16:creationId xmlns="" xmlns:a16="http://schemas.microsoft.com/office/drawing/2014/main" id="{34DA0A71-997A-6648-A38D-B5CEF703E8A2}"/>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7" name="Freeform 6">
              <a:extLst>
                <a:ext uri="{FF2B5EF4-FFF2-40B4-BE49-F238E27FC236}">
                  <a16:creationId xmlns="" xmlns:a16="http://schemas.microsoft.com/office/drawing/2014/main" id="{88DFC691-DBE8-004F-A13D-664670C5C7EB}"/>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8" name="Freeform 7">
              <a:extLst>
                <a:ext uri="{FF2B5EF4-FFF2-40B4-BE49-F238E27FC236}">
                  <a16:creationId xmlns="" xmlns:a16="http://schemas.microsoft.com/office/drawing/2014/main" id="{1274D962-464B-6A4E-BB2A-5D7CFEA38C05}"/>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solidFill>
                  <a:prstClr val="black"/>
                </a:solidFill>
              </a:endParaRPr>
            </a:p>
          </p:txBody>
        </p:sp>
      </p:grpSp>
      <p:sp>
        <p:nvSpPr>
          <p:cNvPr id="9" name="Freeform 22">
            <a:extLst>
              <a:ext uri="{FF2B5EF4-FFF2-40B4-BE49-F238E27FC236}">
                <a16:creationId xmlns="" xmlns:a16="http://schemas.microsoft.com/office/drawing/2014/main" id="{916A0246-60AB-E848-807A-41356E60F15C}"/>
              </a:ext>
            </a:extLst>
          </p:cNvPr>
          <p:cNvSpPr>
            <a:spLocks noEditPoints="1"/>
          </p:cNvSpPr>
          <p:nvPr/>
        </p:nvSpPr>
        <p:spPr bwMode="auto">
          <a:xfrm>
            <a:off x="5592763" y="1641600"/>
            <a:ext cx="5284800" cy="3574800"/>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10" name="Rectángulo 9">
            <a:extLst>
              <a:ext uri="{FF2B5EF4-FFF2-40B4-BE49-F238E27FC236}">
                <a16:creationId xmlns="" xmlns:a16="http://schemas.microsoft.com/office/drawing/2014/main" id="{E4AD6C16-93E3-E145-953C-336B7AACA87C}"/>
              </a:ext>
            </a:extLst>
          </p:cNvPr>
          <p:cNvSpPr/>
          <p:nvPr/>
        </p:nvSpPr>
        <p:spPr>
          <a:xfrm>
            <a:off x="452954" y="440791"/>
            <a:ext cx="6280887" cy="400110"/>
          </a:xfrm>
          <a:prstGeom prst="rect">
            <a:avLst/>
          </a:prstGeom>
        </p:spPr>
        <p:txBody>
          <a:bodyPr wrap="none">
            <a:spAutoFit/>
          </a:bodyPr>
          <a:lstStyle/>
          <a:p>
            <a:r>
              <a:rPr lang="es-CL" sz="2000" dirty="0">
                <a:solidFill>
                  <a:srgbClr val="15C047"/>
                </a:solidFill>
                <a:latin typeface="ACHS Nueva Serif" pitchFamily="2" charset="77"/>
                <a:cs typeface="Arial" panose="020B0604020202020204" pitchFamily="34" charset="0"/>
              </a:rPr>
              <a:t>Encuesta de satisfacción – Curso  abierto presencial</a:t>
            </a:r>
          </a:p>
        </p:txBody>
      </p:sp>
      <p:pic>
        <p:nvPicPr>
          <p:cNvPr id="11" name="Imagen 10">
            <a:extLst>
              <a:ext uri="{FF2B5EF4-FFF2-40B4-BE49-F238E27FC236}">
                <a16:creationId xmlns="" xmlns:a16="http://schemas.microsoft.com/office/drawing/2014/main" id="{B6014957-C826-9C45-BC05-9121603F1D0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cxnSp>
        <p:nvCxnSpPr>
          <p:cNvPr id="12" name="Conector recto 11">
            <a:extLst>
              <a:ext uri="{FF2B5EF4-FFF2-40B4-BE49-F238E27FC236}">
                <a16:creationId xmlns="" xmlns:a16="http://schemas.microsoft.com/office/drawing/2014/main" id="{6074E660-AA37-9E45-8D6E-CAAC7EB0A77B}"/>
              </a:ext>
            </a:extLst>
          </p:cNvPr>
          <p:cNvCxnSpPr>
            <a:cxnSpLocks/>
          </p:cNvCxnSpPr>
          <p:nvPr/>
        </p:nvCxnSpPr>
        <p:spPr>
          <a:xfrm>
            <a:off x="535129" y="386604"/>
            <a:ext cx="1297221" cy="0"/>
          </a:xfrm>
          <a:prstGeom prst="line">
            <a:avLst/>
          </a:prstGeom>
          <a:noFill/>
          <a:ln w="22225" cap="flat">
            <a:solidFill>
              <a:srgbClr val="13C045"/>
            </a:solidFill>
            <a:prstDash val="solid"/>
            <a:miter lim="400000"/>
          </a:ln>
          <a:effectLst/>
          <a:sp3d/>
        </p:spPr>
        <p:style>
          <a:lnRef idx="0">
            <a:scrgbClr r="0" g="0" b="0"/>
          </a:lnRef>
          <a:fillRef idx="0">
            <a:scrgbClr r="0" g="0" b="0"/>
          </a:fillRef>
          <a:effectRef idx="0">
            <a:scrgbClr r="0" g="0" b="0"/>
          </a:effectRef>
          <a:fontRef idx="none"/>
        </p:style>
      </p:cxnSp>
      <p:sp>
        <p:nvSpPr>
          <p:cNvPr id="13" name="Rectángulo 12">
            <a:extLst>
              <a:ext uri="{FF2B5EF4-FFF2-40B4-BE49-F238E27FC236}">
                <a16:creationId xmlns="" xmlns:a16="http://schemas.microsoft.com/office/drawing/2014/main" id="{F0CB735D-06B5-B341-AC4F-A43926FC2125}"/>
              </a:ext>
            </a:extLst>
          </p:cNvPr>
          <p:cNvSpPr/>
          <p:nvPr/>
        </p:nvSpPr>
        <p:spPr>
          <a:xfrm>
            <a:off x="1357049" y="5488534"/>
            <a:ext cx="2220180" cy="338554"/>
          </a:xfrm>
          <a:prstGeom prst="rect">
            <a:avLst/>
          </a:prstGeom>
        </p:spPr>
        <p:txBody>
          <a:bodyPr wrap="square">
            <a:spAutoFit/>
          </a:bodyPr>
          <a:lstStyle/>
          <a:p>
            <a:pPr algn="ctr"/>
            <a:r>
              <a:rPr lang="es-CL" sz="1600" b="1" dirty="0">
                <a:solidFill>
                  <a:srgbClr val="15C047"/>
                </a:solidFill>
                <a:latin typeface="ACHS Nueva Sans" pitchFamily="2" charset="77"/>
                <a:cs typeface="Arial" panose="020B0604020202020204" pitchFamily="34" charset="0"/>
              </a:rPr>
              <a:t>Escanea este código</a:t>
            </a:r>
          </a:p>
        </p:txBody>
      </p:sp>
      <p:sp>
        <p:nvSpPr>
          <p:cNvPr id="14" name="Rectángulo 13">
            <a:extLst>
              <a:ext uri="{FF2B5EF4-FFF2-40B4-BE49-F238E27FC236}">
                <a16:creationId xmlns="" xmlns:a16="http://schemas.microsoft.com/office/drawing/2014/main" id="{94D5BD24-B25B-0348-81AE-8B0005A9356E}"/>
              </a:ext>
            </a:extLst>
          </p:cNvPr>
          <p:cNvSpPr/>
          <p:nvPr/>
        </p:nvSpPr>
        <p:spPr>
          <a:xfrm>
            <a:off x="7366082" y="5488534"/>
            <a:ext cx="2220180" cy="338554"/>
          </a:xfrm>
          <a:prstGeom prst="rect">
            <a:avLst/>
          </a:prstGeom>
        </p:spPr>
        <p:txBody>
          <a:bodyPr wrap="square">
            <a:spAutoFit/>
          </a:bodyPr>
          <a:lstStyle/>
          <a:p>
            <a:pPr algn="ctr"/>
            <a:r>
              <a:rPr lang="es-CL" sz="1600" b="1" dirty="0">
                <a:solidFill>
                  <a:srgbClr val="15C047"/>
                </a:solidFill>
                <a:latin typeface="ACHS Nueva Sans" pitchFamily="2" charset="77"/>
                <a:cs typeface="Arial" panose="020B0604020202020204" pitchFamily="34" charset="0"/>
              </a:rPr>
              <a:t>O ingresa a este link</a:t>
            </a:r>
          </a:p>
        </p:txBody>
      </p:sp>
      <p:sp>
        <p:nvSpPr>
          <p:cNvPr id="17" name="Marcador de texto 11">
            <a:extLst>
              <a:ext uri="{FF2B5EF4-FFF2-40B4-BE49-F238E27FC236}">
                <a16:creationId xmlns="" xmlns:a16="http://schemas.microsoft.com/office/drawing/2014/main" id="{792C80F6-197E-164E-929B-FF5B71010328}"/>
              </a:ext>
            </a:extLst>
          </p:cNvPr>
          <p:cNvSpPr txBox="1">
            <a:spLocks/>
          </p:cNvSpPr>
          <p:nvPr/>
        </p:nvSpPr>
        <p:spPr>
          <a:xfrm>
            <a:off x="5958451" y="2923972"/>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400" b="0" u="sng" kern="0" dirty="0">
                <a:solidFill>
                  <a:srgbClr val="00C42A"/>
                </a:solidFill>
                <a:latin typeface="ACHS Nueva Sans" pitchFamily="2" charset="77"/>
              </a:rPr>
              <a:t>tinyurl.com/26vbepn4</a:t>
            </a:r>
          </a:p>
        </p:txBody>
      </p:sp>
      <p:pic>
        <p:nvPicPr>
          <p:cNvPr id="18" name="Imagen 17">
            <a:extLst>
              <a:ext uri="{FF2B5EF4-FFF2-40B4-BE49-F238E27FC236}">
                <a16:creationId xmlns="" xmlns:a16="http://schemas.microsoft.com/office/drawing/2014/main" id="{34643A48-629B-8542-A236-DED458AE96D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657118" y="2627956"/>
            <a:ext cx="1625051" cy="1628874"/>
          </a:xfrm>
          <a:prstGeom prst="rect">
            <a:avLst/>
          </a:prstGeom>
        </p:spPr>
      </p:pic>
    </p:spTree>
    <p:custDataLst>
      <p:tags r:id="rId1"/>
    </p:custDataLst>
    <p:extLst>
      <p:ext uri="{BB962C8B-B14F-4D97-AF65-F5344CB8AC3E}">
        <p14:creationId xmlns:p14="http://schemas.microsoft.com/office/powerpoint/2010/main" val="31486569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1F0317DA-7C74-1548-9D23-0BFB8866CFE8}"/>
              </a:ext>
            </a:extLst>
          </p:cNvPr>
          <p:cNvSpPr>
            <a:spLocks noGrp="1"/>
          </p:cNvSpPr>
          <p:nvPr>
            <p:ph type="title"/>
          </p:nvPr>
        </p:nvSpPr>
        <p:spPr/>
        <p:txBody>
          <a:bodyPr/>
          <a:lstStyle/>
          <a:p>
            <a:endParaRPr lang="es-CL"/>
          </a:p>
        </p:txBody>
      </p:sp>
      <p:sp>
        <p:nvSpPr>
          <p:cNvPr id="3" name="Marcador de contenido 2">
            <a:extLst>
              <a:ext uri="{FF2B5EF4-FFF2-40B4-BE49-F238E27FC236}">
                <a16:creationId xmlns="" xmlns:a16="http://schemas.microsoft.com/office/drawing/2014/main" id="{7CC3F05D-7E38-9645-BAA9-459EE8109A56}"/>
              </a:ext>
            </a:extLst>
          </p:cNvPr>
          <p:cNvSpPr>
            <a:spLocks noGrp="1"/>
          </p:cNvSpPr>
          <p:nvPr>
            <p:ph idx="1"/>
          </p:nvPr>
        </p:nvSpPr>
        <p:spPr/>
        <p:txBody>
          <a:bodyPr/>
          <a:lstStyle/>
          <a:p>
            <a:endParaRPr lang="es-CL"/>
          </a:p>
        </p:txBody>
      </p:sp>
      <p:sp>
        <p:nvSpPr>
          <p:cNvPr id="4" name="Rectángulo 3">
            <a:extLst>
              <a:ext uri="{FF2B5EF4-FFF2-40B4-BE49-F238E27FC236}">
                <a16:creationId xmlns="" xmlns:a16="http://schemas.microsoft.com/office/drawing/2014/main" id="{52BD712E-6A3D-4342-B8CA-C4A51CDB477B}"/>
              </a:ext>
            </a:extLst>
          </p:cNvPr>
          <p:cNvSpPr/>
          <p:nvPr/>
        </p:nvSpPr>
        <p:spPr>
          <a:xfrm>
            <a:off x="0" y="0"/>
            <a:ext cx="12192000" cy="6858000"/>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13C045"/>
              </a:solidFill>
            </a:endParaRPr>
          </a:p>
        </p:txBody>
      </p:sp>
      <p:grpSp>
        <p:nvGrpSpPr>
          <p:cNvPr id="5" name="Group 4">
            <a:extLst>
              <a:ext uri="{FF2B5EF4-FFF2-40B4-BE49-F238E27FC236}">
                <a16:creationId xmlns="" xmlns:a16="http://schemas.microsoft.com/office/drawing/2014/main" id="{B63C7CAB-FA4F-1745-9571-70574C4DB2EB}"/>
              </a:ext>
            </a:extLst>
          </p:cNvPr>
          <p:cNvGrpSpPr>
            <a:grpSpLocks/>
          </p:cNvGrpSpPr>
          <p:nvPr/>
        </p:nvGrpSpPr>
        <p:grpSpPr bwMode="auto">
          <a:xfrm>
            <a:off x="1357049" y="1571875"/>
            <a:ext cx="2203200" cy="3715200"/>
            <a:chOff x="495" y="1002"/>
            <a:chExt cx="258" cy="473"/>
          </a:xfrm>
          <a:solidFill>
            <a:srgbClr val="0CC144"/>
          </a:solidFill>
        </p:grpSpPr>
        <p:sp>
          <p:nvSpPr>
            <p:cNvPr id="6" name="Freeform 5">
              <a:extLst>
                <a:ext uri="{FF2B5EF4-FFF2-40B4-BE49-F238E27FC236}">
                  <a16:creationId xmlns="" xmlns:a16="http://schemas.microsoft.com/office/drawing/2014/main" id="{9CBA5BF2-5B2A-484C-8814-AFFB5F9CD650}"/>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7" name="Freeform 6">
              <a:extLst>
                <a:ext uri="{FF2B5EF4-FFF2-40B4-BE49-F238E27FC236}">
                  <a16:creationId xmlns="" xmlns:a16="http://schemas.microsoft.com/office/drawing/2014/main" id="{4E3359A4-44E0-1547-8EA4-A8EF46656606}"/>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8" name="Freeform 7">
              <a:extLst>
                <a:ext uri="{FF2B5EF4-FFF2-40B4-BE49-F238E27FC236}">
                  <a16:creationId xmlns="" xmlns:a16="http://schemas.microsoft.com/office/drawing/2014/main" id="{50DEDFD7-C412-3C40-AB72-78E8FFC623A5}"/>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solidFill>
                  <a:prstClr val="black"/>
                </a:solidFill>
              </a:endParaRPr>
            </a:p>
          </p:txBody>
        </p:sp>
      </p:grpSp>
      <p:sp>
        <p:nvSpPr>
          <p:cNvPr id="9" name="Freeform 22">
            <a:extLst>
              <a:ext uri="{FF2B5EF4-FFF2-40B4-BE49-F238E27FC236}">
                <a16:creationId xmlns="" xmlns:a16="http://schemas.microsoft.com/office/drawing/2014/main" id="{255B9AF1-52CC-2343-85D3-3845CBB0F8CC}"/>
              </a:ext>
            </a:extLst>
          </p:cNvPr>
          <p:cNvSpPr>
            <a:spLocks noEditPoints="1"/>
          </p:cNvSpPr>
          <p:nvPr/>
        </p:nvSpPr>
        <p:spPr bwMode="auto">
          <a:xfrm>
            <a:off x="5592763" y="1641600"/>
            <a:ext cx="5284800" cy="3574800"/>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10" name="Rectángulo 9">
            <a:extLst>
              <a:ext uri="{FF2B5EF4-FFF2-40B4-BE49-F238E27FC236}">
                <a16:creationId xmlns="" xmlns:a16="http://schemas.microsoft.com/office/drawing/2014/main" id="{52DB2E02-B54A-514F-BDA4-EFDA7F802CB0}"/>
              </a:ext>
            </a:extLst>
          </p:cNvPr>
          <p:cNvSpPr/>
          <p:nvPr/>
        </p:nvSpPr>
        <p:spPr>
          <a:xfrm>
            <a:off x="473261" y="411644"/>
            <a:ext cx="6330579" cy="400110"/>
          </a:xfrm>
          <a:prstGeom prst="rect">
            <a:avLst/>
          </a:prstGeom>
        </p:spPr>
        <p:txBody>
          <a:bodyPr wrap="none">
            <a:spAutoFit/>
          </a:bodyPr>
          <a:lstStyle/>
          <a:p>
            <a:r>
              <a:rPr lang="es-CL" sz="2000" dirty="0">
                <a:solidFill>
                  <a:srgbClr val="15C047"/>
                </a:solidFill>
                <a:latin typeface="ACHS Nueva Serif" pitchFamily="2" charset="77"/>
                <a:cs typeface="Arial" panose="020B0604020202020204" pitchFamily="34" charset="0"/>
              </a:rPr>
              <a:t>Encuesta de satisfacción – Curso  cerrado presencial</a:t>
            </a:r>
          </a:p>
        </p:txBody>
      </p:sp>
      <p:pic>
        <p:nvPicPr>
          <p:cNvPr id="11" name="Imagen 10">
            <a:extLst>
              <a:ext uri="{FF2B5EF4-FFF2-40B4-BE49-F238E27FC236}">
                <a16:creationId xmlns="" xmlns:a16="http://schemas.microsoft.com/office/drawing/2014/main" id="{F7E0F5A1-98C2-AD4B-8707-ABC2A7D517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cxnSp>
        <p:nvCxnSpPr>
          <p:cNvPr id="12" name="Conector recto 11">
            <a:extLst>
              <a:ext uri="{FF2B5EF4-FFF2-40B4-BE49-F238E27FC236}">
                <a16:creationId xmlns="" xmlns:a16="http://schemas.microsoft.com/office/drawing/2014/main" id="{A9D57230-4199-4046-BF66-AFC00D33CA09}"/>
              </a:ext>
            </a:extLst>
          </p:cNvPr>
          <p:cNvCxnSpPr>
            <a:cxnSpLocks/>
          </p:cNvCxnSpPr>
          <p:nvPr/>
        </p:nvCxnSpPr>
        <p:spPr>
          <a:xfrm>
            <a:off x="535129" y="386604"/>
            <a:ext cx="1297221" cy="0"/>
          </a:xfrm>
          <a:prstGeom prst="line">
            <a:avLst/>
          </a:prstGeom>
          <a:noFill/>
          <a:ln w="22225" cap="flat">
            <a:solidFill>
              <a:srgbClr val="13C045"/>
            </a:solidFill>
            <a:prstDash val="solid"/>
            <a:miter lim="400000"/>
          </a:ln>
          <a:effectLst/>
          <a:sp3d/>
        </p:spPr>
        <p:style>
          <a:lnRef idx="0">
            <a:scrgbClr r="0" g="0" b="0"/>
          </a:lnRef>
          <a:fillRef idx="0">
            <a:scrgbClr r="0" g="0" b="0"/>
          </a:fillRef>
          <a:effectRef idx="0">
            <a:scrgbClr r="0" g="0" b="0"/>
          </a:effectRef>
          <a:fontRef idx="none"/>
        </p:style>
      </p:cxnSp>
      <p:sp>
        <p:nvSpPr>
          <p:cNvPr id="13" name="Rectángulo 12">
            <a:extLst>
              <a:ext uri="{FF2B5EF4-FFF2-40B4-BE49-F238E27FC236}">
                <a16:creationId xmlns="" xmlns:a16="http://schemas.microsoft.com/office/drawing/2014/main" id="{86BC6BC7-E20A-9247-A50E-0570BBC7EEAE}"/>
              </a:ext>
            </a:extLst>
          </p:cNvPr>
          <p:cNvSpPr/>
          <p:nvPr/>
        </p:nvSpPr>
        <p:spPr>
          <a:xfrm>
            <a:off x="1357049" y="5488534"/>
            <a:ext cx="2220180" cy="338554"/>
          </a:xfrm>
          <a:prstGeom prst="rect">
            <a:avLst/>
          </a:prstGeom>
        </p:spPr>
        <p:txBody>
          <a:bodyPr wrap="square">
            <a:spAutoFit/>
          </a:bodyPr>
          <a:lstStyle/>
          <a:p>
            <a:pPr algn="ctr"/>
            <a:r>
              <a:rPr lang="es-CL" sz="1600" b="1" dirty="0">
                <a:solidFill>
                  <a:srgbClr val="15C047"/>
                </a:solidFill>
                <a:latin typeface="ACHS Nueva Sans" pitchFamily="2" charset="77"/>
                <a:cs typeface="Arial" panose="020B0604020202020204" pitchFamily="34" charset="0"/>
              </a:rPr>
              <a:t>Escanea este código</a:t>
            </a:r>
          </a:p>
        </p:txBody>
      </p:sp>
      <p:sp>
        <p:nvSpPr>
          <p:cNvPr id="14" name="Rectángulo 13">
            <a:extLst>
              <a:ext uri="{FF2B5EF4-FFF2-40B4-BE49-F238E27FC236}">
                <a16:creationId xmlns="" xmlns:a16="http://schemas.microsoft.com/office/drawing/2014/main" id="{E086CC3D-33B0-3144-9EF3-77898E9C108B}"/>
              </a:ext>
            </a:extLst>
          </p:cNvPr>
          <p:cNvSpPr/>
          <p:nvPr/>
        </p:nvSpPr>
        <p:spPr>
          <a:xfrm>
            <a:off x="7366082" y="5488534"/>
            <a:ext cx="2220180" cy="338554"/>
          </a:xfrm>
          <a:prstGeom prst="rect">
            <a:avLst/>
          </a:prstGeom>
        </p:spPr>
        <p:txBody>
          <a:bodyPr wrap="square">
            <a:spAutoFit/>
          </a:bodyPr>
          <a:lstStyle/>
          <a:p>
            <a:pPr algn="ctr"/>
            <a:r>
              <a:rPr lang="es-CL" sz="1600" b="1" dirty="0">
                <a:solidFill>
                  <a:srgbClr val="15C047"/>
                </a:solidFill>
                <a:latin typeface="ACHS Nueva Sans" pitchFamily="2" charset="77"/>
                <a:cs typeface="Arial" panose="020B0604020202020204" pitchFamily="34" charset="0"/>
              </a:rPr>
              <a:t>O ingresa a este link</a:t>
            </a:r>
          </a:p>
        </p:txBody>
      </p:sp>
      <p:sp>
        <p:nvSpPr>
          <p:cNvPr id="17" name="Marcador de texto 11">
            <a:extLst>
              <a:ext uri="{FF2B5EF4-FFF2-40B4-BE49-F238E27FC236}">
                <a16:creationId xmlns="" xmlns:a16="http://schemas.microsoft.com/office/drawing/2014/main" id="{72A2680E-4576-5A4B-A104-46E1C4C9804A}"/>
              </a:ext>
            </a:extLst>
          </p:cNvPr>
          <p:cNvSpPr txBox="1">
            <a:spLocks/>
          </p:cNvSpPr>
          <p:nvPr/>
        </p:nvSpPr>
        <p:spPr>
          <a:xfrm>
            <a:off x="5851683" y="2967163"/>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400" b="0" u="sng" kern="0" dirty="0">
                <a:solidFill>
                  <a:srgbClr val="00C42A"/>
                </a:solidFill>
                <a:latin typeface="ACHS Nueva Sans Medium" pitchFamily="2" charset="77"/>
              </a:rPr>
              <a:t>tinyurl.</a:t>
            </a:r>
            <a:r>
              <a:rPr lang="es-CL" sz="2400" b="0" u="sng" kern="0" dirty="0">
                <a:solidFill>
                  <a:srgbClr val="00C42A"/>
                </a:solidFill>
                <a:latin typeface="ACHS Nueva Sans" pitchFamily="2" charset="77"/>
              </a:rPr>
              <a:t>com</a:t>
            </a:r>
            <a:r>
              <a:rPr lang="es-CL" sz="2400" b="0" u="sng" kern="0" dirty="0">
                <a:solidFill>
                  <a:srgbClr val="00C42A"/>
                </a:solidFill>
                <a:latin typeface="ACHS Nueva Sans Medium" pitchFamily="2" charset="77"/>
              </a:rPr>
              <a:t>/</a:t>
            </a:r>
            <a:r>
              <a:rPr lang="es-CL" sz="2400" b="0" u="sng" kern="0" dirty="0" err="1">
                <a:solidFill>
                  <a:srgbClr val="00C42A"/>
                </a:solidFill>
                <a:latin typeface="ACHS Nueva Sans Medium" pitchFamily="2" charset="77"/>
              </a:rPr>
              <a:t>ujnzkjew</a:t>
            </a:r>
            <a:endParaRPr lang="es-CL" sz="2400" b="0" u="sng" kern="0" dirty="0">
              <a:solidFill>
                <a:srgbClr val="00C42A"/>
              </a:solidFill>
              <a:latin typeface="ACHS Nueva Sans Medium" pitchFamily="2" charset="77"/>
            </a:endParaRPr>
          </a:p>
        </p:txBody>
      </p:sp>
      <p:pic>
        <p:nvPicPr>
          <p:cNvPr id="18" name="Imagen 17">
            <a:extLst>
              <a:ext uri="{FF2B5EF4-FFF2-40B4-BE49-F238E27FC236}">
                <a16:creationId xmlns="" xmlns:a16="http://schemas.microsoft.com/office/drawing/2014/main" id="{2702EFA0-33F1-4245-8373-7B1B273255C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633680" y="2590800"/>
            <a:ext cx="1657927" cy="1676400"/>
          </a:xfrm>
          <a:prstGeom prst="rect">
            <a:avLst/>
          </a:prstGeom>
        </p:spPr>
      </p:pic>
    </p:spTree>
    <p:custDataLst>
      <p:tags r:id="rId1"/>
    </p:custDataLst>
    <p:extLst>
      <p:ext uri="{BB962C8B-B14F-4D97-AF65-F5344CB8AC3E}">
        <p14:creationId xmlns:p14="http://schemas.microsoft.com/office/powerpoint/2010/main" val="24458847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AC605557-E92C-284E-A185-854894AB00B2}"/>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925" name="Diapositiva de think-cell" r:id="rId5" imgW="7772400" imgH="10058400" progId="TCLayout.ActiveDocument.1">
                  <p:embed/>
                </p:oleObj>
              </mc:Choice>
              <mc:Fallback>
                <p:oleObj name="Diapositiva de think-cell" r:id="rId5" imgW="7772400" imgH="10058400" progId="TCLayout.ActiveDocument.1">
                  <p:embed/>
                  <p:pic>
                    <p:nvPicPr>
                      <p:cNvPr id="2" name="Objeto 1" hidden="1">
                        <a:extLst>
                          <a:ext uri="{FF2B5EF4-FFF2-40B4-BE49-F238E27FC236}">
                            <a16:creationId xmlns:a16="http://schemas.microsoft.com/office/drawing/2014/main" xmlns="" id="{AC605557-E92C-284E-A185-854894AB00B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xmlns="" id="{4641AB49-6C77-6FC9-A51B-7DE0EEA97F89}"/>
              </a:ext>
            </a:extLst>
          </p:cNvPr>
          <p:cNvSpPr>
            <a:spLocks noGrp="1"/>
          </p:cNvSpPr>
          <p:nvPr>
            <p:ph type="body" sz="quarter" idx="17"/>
          </p:nvPr>
        </p:nvSpPr>
        <p:spPr/>
        <p:txBody>
          <a:bodyPr>
            <a:normAutofit fontScale="92500"/>
          </a:bodyPr>
          <a:lstStyle/>
          <a:p>
            <a:r>
              <a:rPr lang="x-none" dirty="0">
                <a:latin typeface="ACHS Nueva Serif" pitchFamily="2" charset="77"/>
              </a:rPr>
              <a:t>Muchas</a:t>
            </a:r>
          </a:p>
          <a:p>
            <a:r>
              <a:rPr lang="en-US" dirty="0">
                <a:latin typeface="ACHS Nueva Serif" pitchFamily="2" charset="77"/>
              </a:rPr>
              <a:t>g</a:t>
            </a:r>
            <a:r>
              <a:rPr lang="x-none" dirty="0">
                <a:latin typeface="ACHS Nueva Serif" pitchFamily="2" charset="77"/>
              </a:rPr>
              <a:t>racias</a:t>
            </a:r>
          </a:p>
        </p:txBody>
      </p:sp>
      <p:sp>
        <p:nvSpPr>
          <p:cNvPr id="18" name="Text Placeholder 17">
            <a:extLst>
              <a:ext uri="{FF2B5EF4-FFF2-40B4-BE49-F238E27FC236}">
                <a16:creationId xmlns:a16="http://schemas.microsoft.com/office/drawing/2014/main" xmlns="" id="{679A60EB-ADA8-4A42-0140-DF2009B0BE2B}"/>
              </a:ext>
            </a:extLst>
          </p:cNvPr>
          <p:cNvSpPr>
            <a:spLocks noGrp="1"/>
          </p:cNvSpPr>
          <p:nvPr>
            <p:ph type="body" sz="quarter" idx="19"/>
          </p:nvPr>
        </p:nvSpPr>
        <p:spPr/>
        <p:txBody>
          <a:bodyPr/>
          <a:lstStyle/>
          <a:p>
            <a:endParaRPr lang="x-none">
              <a:latin typeface="ACHS Nueva Sans Medium" pitchFamily="2" charset="77"/>
            </a:endParaRPr>
          </a:p>
        </p:txBody>
      </p:sp>
    </p:spTree>
    <p:custDataLst>
      <p:tags r:id="rId2"/>
    </p:custDataLst>
    <p:extLst>
      <p:ext uri="{BB962C8B-B14F-4D97-AF65-F5344CB8AC3E}">
        <p14:creationId xmlns:p14="http://schemas.microsoft.com/office/powerpoint/2010/main" val="520329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xmlns="" id="{A1EE75B6-E676-9640-BDA1-529A509EBE46}"/>
              </a:ext>
            </a:extLst>
          </p:cNvPr>
          <p:cNvSpPr>
            <a:spLocks noGrp="1"/>
          </p:cNvSpPr>
          <p:nvPr>
            <p:ph type="body" sz="quarter" idx="61"/>
          </p:nvPr>
        </p:nvSpPr>
        <p:spPr/>
        <p:txBody>
          <a:bodyPr/>
          <a:lstStyle/>
          <a:p>
            <a:r>
              <a:rPr lang="es-CL" dirty="0">
                <a:latin typeface="ACHS Nueva Serif" pitchFamily="2" charset="77"/>
              </a:rPr>
              <a:t>Antes de comenzar</a:t>
            </a:r>
          </a:p>
        </p:txBody>
      </p:sp>
      <p:sp>
        <p:nvSpPr>
          <p:cNvPr id="7" name="Marcador de texto 4">
            <a:extLst>
              <a:ext uri="{FF2B5EF4-FFF2-40B4-BE49-F238E27FC236}">
                <a16:creationId xmlns:a16="http://schemas.microsoft.com/office/drawing/2014/main" xmlns="" id="{FD37B5A4-4702-8643-9271-85EEB8D0074F}"/>
              </a:ext>
            </a:extLst>
          </p:cNvPr>
          <p:cNvSpPr txBox="1">
            <a:spLocks/>
          </p:cNvSpPr>
          <p:nvPr/>
        </p:nvSpPr>
        <p:spPr>
          <a:xfrm>
            <a:off x="526890" y="2208672"/>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latin typeface="ACHS Nueva Sans Medium" pitchFamily="2" charset="77"/>
              </a:rPr>
              <a:t>01</a:t>
            </a:r>
            <a:endParaRPr lang="es-CL" sz="4800" dirty="0">
              <a:solidFill>
                <a:schemeClr val="bg2"/>
              </a:solidFill>
              <a:latin typeface="ACHS Nueva Sans Medium" pitchFamily="2" charset="77"/>
            </a:endParaRPr>
          </a:p>
        </p:txBody>
      </p:sp>
      <p:sp>
        <p:nvSpPr>
          <p:cNvPr id="8" name="Marcador de texto 4">
            <a:extLst>
              <a:ext uri="{FF2B5EF4-FFF2-40B4-BE49-F238E27FC236}">
                <a16:creationId xmlns:a16="http://schemas.microsoft.com/office/drawing/2014/main" xmlns="" id="{318C975D-952F-3E43-B468-2D519DBD43DD}"/>
              </a:ext>
            </a:extLst>
          </p:cNvPr>
          <p:cNvSpPr txBox="1">
            <a:spLocks/>
          </p:cNvSpPr>
          <p:nvPr/>
        </p:nvSpPr>
        <p:spPr>
          <a:xfrm>
            <a:off x="3411953" y="2213429"/>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latin typeface="ACHS Nueva Sans Medium" pitchFamily="2" charset="77"/>
              </a:rPr>
              <a:t>02</a:t>
            </a:r>
            <a:endParaRPr lang="es-CL" sz="4800" dirty="0">
              <a:solidFill>
                <a:schemeClr val="bg2"/>
              </a:solidFill>
              <a:latin typeface="ACHS Nueva Sans Medium" pitchFamily="2" charset="77"/>
            </a:endParaRPr>
          </a:p>
        </p:txBody>
      </p:sp>
      <p:sp>
        <p:nvSpPr>
          <p:cNvPr id="9" name="Marcador de texto 4">
            <a:extLst>
              <a:ext uri="{FF2B5EF4-FFF2-40B4-BE49-F238E27FC236}">
                <a16:creationId xmlns:a16="http://schemas.microsoft.com/office/drawing/2014/main" xmlns="" id="{34A3CEDA-9FAB-714D-85D5-E62B628E7E61}"/>
              </a:ext>
            </a:extLst>
          </p:cNvPr>
          <p:cNvSpPr txBox="1">
            <a:spLocks/>
          </p:cNvSpPr>
          <p:nvPr/>
        </p:nvSpPr>
        <p:spPr>
          <a:xfrm>
            <a:off x="6513991" y="2212587"/>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latin typeface="ACHS Nueva Sans Medium" pitchFamily="2" charset="77"/>
              </a:rPr>
              <a:t>03</a:t>
            </a:r>
            <a:endParaRPr lang="es-CL" sz="4800" dirty="0">
              <a:solidFill>
                <a:schemeClr val="bg2"/>
              </a:solidFill>
              <a:latin typeface="ACHS Nueva Sans Medium" pitchFamily="2" charset="77"/>
            </a:endParaRPr>
          </a:p>
        </p:txBody>
      </p:sp>
      <p:sp>
        <p:nvSpPr>
          <p:cNvPr id="10" name="Marcador de texto 4">
            <a:extLst>
              <a:ext uri="{FF2B5EF4-FFF2-40B4-BE49-F238E27FC236}">
                <a16:creationId xmlns:a16="http://schemas.microsoft.com/office/drawing/2014/main" xmlns="" id="{8FF1AAA4-79AB-6941-85E4-70037C3FED5F}"/>
              </a:ext>
            </a:extLst>
          </p:cNvPr>
          <p:cNvSpPr txBox="1">
            <a:spLocks/>
          </p:cNvSpPr>
          <p:nvPr/>
        </p:nvSpPr>
        <p:spPr>
          <a:xfrm>
            <a:off x="9585030" y="2212587"/>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latin typeface="ACHS Nueva Sans Medium" pitchFamily="2" charset="77"/>
              </a:rPr>
              <a:t>04</a:t>
            </a:r>
            <a:endParaRPr lang="es-CL" sz="4800" dirty="0">
              <a:solidFill>
                <a:schemeClr val="bg2"/>
              </a:solidFill>
              <a:latin typeface="ACHS Nueva Sans Medium" pitchFamily="2" charset="77"/>
            </a:endParaRPr>
          </a:p>
        </p:txBody>
      </p:sp>
      <p:sp>
        <p:nvSpPr>
          <p:cNvPr id="11" name="Marcador de texto 5">
            <a:extLst>
              <a:ext uri="{FF2B5EF4-FFF2-40B4-BE49-F238E27FC236}">
                <a16:creationId xmlns:a16="http://schemas.microsoft.com/office/drawing/2014/main" xmlns="" id="{7AD70A72-2B80-0C4F-97B7-8CD07B868567}"/>
              </a:ext>
            </a:extLst>
          </p:cNvPr>
          <p:cNvSpPr txBox="1">
            <a:spLocks/>
          </p:cNvSpPr>
          <p:nvPr/>
        </p:nvSpPr>
        <p:spPr>
          <a:xfrm>
            <a:off x="584328" y="4633669"/>
            <a:ext cx="1481151" cy="426885"/>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Medium" pitchFamily="2" charset="77"/>
              </a:rPr>
              <a:t>Bienvenida</a:t>
            </a:r>
          </a:p>
        </p:txBody>
      </p:sp>
      <p:sp>
        <p:nvSpPr>
          <p:cNvPr id="12" name="Marcador de texto 5">
            <a:extLst>
              <a:ext uri="{FF2B5EF4-FFF2-40B4-BE49-F238E27FC236}">
                <a16:creationId xmlns:a16="http://schemas.microsoft.com/office/drawing/2014/main" xmlns="" id="{9BC70322-8FDC-AB44-BBEA-D3D748B35850}"/>
              </a:ext>
            </a:extLst>
          </p:cNvPr>
          <p:cNvSpPr txBox="1">
            <a:spLocks/>
          </p:cNvSpPr>
          <p:nvPr/>
        </p:nvSpPr>
        <p:spPr>
          <a:xfrm>
            <a:off x="3425018" y="4629414"/>
            <a:ext cx="1659132"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Medium" pitchFamily="2" charset="77"/>
              </a:rPr>
              <a:t>Presentación del facilitador</a:t>
            </a:r>
          </a:p>
          <a:p>
            <a:pPr algn="ctr"/>
            <a:endParaRPr lang="es-CL" b="1" dirty="0">
              <a:solidFill>
                <a:schemeClr val="bg2"/>
              </a:solidFill>
              <a:latin typeface="ACHS Nueva Sans Medium" pitchFamily="2" charset="77"/>
            </a:endParaRPr>
          </a:p>
        </p:txBody>
      </p:sp>
      <p:sp>
        <p:nvSpPr>
          <p:cNvPr id="13" name="Marcador de texto 5">
            <a:extLst>
              <a:ext uri="{FF2B5EF4-FFF2-40B4-BE49-F238E27FC236}">
                <a16:creationId xmlns:a16="http://schemas.microsoft.com/office/drawing/2014/main" xmlns="" id="{7143C2FF-2B2C-AC49-ACF8-18D84AD216F2}"/>
              </a:ext>
            </a:extLst>
          </p:cNvPr>
          <p:cNvSpPr txBox="1">
            <a:spLocks/>
          </p:cNvSpPr>
          <p:nvPr/>
        </p:nvSpPr>
        <p:spPr>
          <a:xfrm>
            <a:off x="6509760" y="4629414"/>
            <a:ext cx="1828327"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Medium" pitchFamily="2" charset="77"/>
              </a:rPr>
              <a:t>Expectativas de los participantes</a:t>
            </a:r>
          </a:p>
          <a:p>
            <a:pPr algn="ctr"/>
            <a:endParaRPr lang="es-CL" b="1" dirty="0">
              <a:solidFill>
                <a:schemeClr val="bg2"/>
              </a:solidFill>
              <a:latin typeface="ACHS Nueva Sans Medium" pitchFamily="2" charset="77"/>
            </a:endParaRPr>
          </a:p>
        </p:txBody>
      </p:sp>
      <p:sp>
        <p:nvSpPr>
          <p:cNvPr id="14" name="Marcador de texto 5">
            <a:extLst>
              <a:ext uri="{FF2B5EF4-FFF2-40B4-BE49-F238E27FC236}">
                <a16:creationId xmlns:a16="http://schemas.microsoft.com/office/drawing/2014/main" xmlns="" id="{72DBB961-EE6D-D547-AC8A-FAEBCA9FB580}"/>
              </a:ext>
            </a:extLst>
          </p:cNvPr>
          <p:cNvSpPr txBox="1">
            <a:spLocks/>
          </p:cNvSpPr>
          <p:nvPr/>
        </p:nvSpPr>
        <p:spPr>
          <a:xfrm>
            <a:off x="9673763" y="4629413"/>
            <a:ext cx="1481151"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Medium" pitchFamily="2" charset="77"/>
              </a:rPr>
              <a:t>Presentación </a:t>
            </a:r>
            <a:r>
              <a:rPr lang="es-CL" b="1" dirty="0" smtClean="0">
                <a:solidFill>
                  <a:schemeClr val="bg2"/>
                </a:solidFill>
                <a:latin typeface="ACHS Nueva Sans Medium" pitchFamily="2" charset="77"/>
              </a:rPr>
              <a:t>de la charla</a:t>
            </a:r>
            <a:endParaRPr lang="es-CL" b="1" dirty="0">
              <a:solidFill>
                <a:schemeClr val="bg2"/>
              </a:solidFill>
              <a:latin typeface="ACHS Nueva Sans Medium" pitchFamily="2" charset="77"/>
            </a:endParaRPr>
          </a:p>
          <a:p>
            <a:pPr algn="ctr"/>
            <a:endParaRPr lang="es-CL" b="1" dirty="0">
              <a:solidFill>
                <a:schemeClr val="bg2"/>
              </a:solidFill>
              <a:latin typeface="ACHS Nueva Sans Medium" pitchFamily="2" charset="77"/>
            </a:endParaRPr>
          </a:p>
        </p:txBody>
      </p:sp>
      <p:pic>
        <p:nvPicPr>
          <p:cNvPr id="15" name="Imagen 14">
            <a:extLst>
              <a:ext uri="{FF2B5EF4-FFF2-40B4-BE49-F238E27FC236}">
                <a16:creationId xmlns:a16="http://schemas.microsoft.com/office/drawing/2014/main" xmlns="" id="{F7A8950F-1B55-8D4D-BBE7-9A02BB6F483A}"/>
              </a:ext>
            </a:extLst>
          </p:cNvPr>
          <p:cNvPicPr>
            <a:picLocks noChangeAspect="1"/>
          </p:cNvPicPr>
          <p:nvPr/>
        </p:nvPicPr>
        <p:blipFill>
          <a:blip r:embed="rId4"/>
          <a:stretch>
            <a:fillRect/>
          </a:stretch>
        </p:blipFill>
        <p:spPr>
          <a:xfrm>
            <a:off x="584328" y="3108831"/>
            <a:ext cx="1481153" cy="1071472"/>
          </a:xfrm>
          <a:prstGeom prst="rect">
            <a:avLst/>
          </a:prstGeom>
        </p:spPr>
      </p:pic>
      <p:pic>
        <p:nvPicPr>
          <p:cNvPr id="16" name="Imagen 15">
            <a:extLst>
              <a:ext uri="{FF2B5EF4-FFF2-40B4-BE49-F238E27FC236}">
                <a16:creationId xmlns:a16="http://schemas.microsoft.com/office/drawing/2014/main" xmlns="" id="{54CBE767-626C-7E45-8F17-E29F3584DAB2}"/>
              </a:ext>
            </a:extLst>
          </p:cNvPr>
          <p:cNvPicPr>
            <a:picLocks noChangeAspect="1"/>
          </p:cNvPicPr>
          <p:nvPr/>
        </p:nvPicPr>
        <p:blipFill>
          <a:blip r:embed="rId5"/>
          <a:stretch>
            <a:fillRect/>
          </a:stretch>
        </p:blipFill>
        <p:spPr>
          <a:xfrm>
            <a:off x="3714980" y="2934164"/>
            <a:ext cx="922622" cy="1336212"/>
          </a:xfrm>
          <a:prstGeom prst="rect">
            <a:avLst/>
          </a:prstGeom>
        </p:spPr>
      </p:pic>
      <p:pic>
        <p:nvPicPr>
          <p:cNvPr id="17" name="Imagen 16">
            <a:extLst>
              <a:ext uri="{FF2B5EF4-FFF2-40B4-BE49-F238E27FC236}">
                <a16:creationId xmlns:a16="http://schemas.microsoft.com/office/drawing/2014/main" xmlns="" id="{B8D87CA9-66F5-9D4D-AAA3-CAB379C286C7}"/>
              </a:ext>
            </a:extLst>
          </p:cNvPr>
          <p:cNvPicPr>
            <a:picLocks noChangeAspect="1"/>
          </p:cNvPicPr>
          <p:nvPr/>
        </p:nvPicPr>
        <p:blipFill>
          <a:blip r:embed="rId6"/>
          <a:stretch>
            <a:fillRect/>
          </a:stretch>
        </p:blipFill>
        <p:spPr>
          <a:xfrm>
            <a:off x="6731655" y="3124588"/>
            <a:ext cx="1102987" cy="1039959"/>
          </a:xfrm>
          <a:prstGeom prst="rect">
            <a:avLst/>
          </a:prstGeom>
        </p:spPr>
      </p:pic>
      <p:pic>
        <p:nvPicPr>
          <p:cNvPr id="18" name="Imagen 17">
            <a:extLst>
              <a:ext uri="{FF2B5EF4-FFF2-40B4-BE49-F238E27FC236}">
                <a16:creationId xmlns:a16="http://schemas.microsoft.com/office/drawing/2014/main" xmlns="" id="{AA55BF28-0B52-4542-BD70-87FF08F4227B}"/>
              </a:ext>
            </a:extLst>
          </p:cNvPr>
          <p:cNvPicPr>
            <a:picLocks noChangeAspect="1"/>
          </p:cNvPicPr>
          <p:nvPr/>
        </p:nvPicPr>
        <p:blipFill>
          <a:blip r:embed="rId7"/>
          <a:stretch>
            <a:fillRect/>
          </a:stretch>
        </p:blipFill>
        <p:spPr>
          <a:xfrm>
            <a:off x="9828614" y="3149988"/>
            <a:ext cx="1157089" cy="1124948"/>
          </a:xfrm>
          <a:prstGeom prst="rect">
            <a:avLst/>
          </a:prstGeom>
        </p:spPr>
      </p:pic>
    </p:spTree>
    <p:custDataLst>
      <p:tags r:id="rId1"/>
    </p:custDataLst>
    <p:extLst>
      <p:ext uri="{BB962C8B-B14F-4D97-AF65-F5344CB8AC3E}">
        <p14:creationId xmlns:p14="http://schemas.microsoft.com/office/powerpoint/2010/main" val="1209877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ángulo redondeado 9">
            <a:extLst>
              <a:ext uri="{FF2B5EF4-FFF2-40B4-BE49-F238E27FC236}">
                <a16:creationId xmlns:a16="http://schemas.microsoft.com/office/drawing/2014/main" xmlns="" id="{E7654E2E-E67F-0C4D-A182-4C63FB3991C4}"/>
              </a:ext>
            </a:extLst>
          </p:cNvPr>
          <p:cNvSpPr/>
          <p:nvPr/>
        </p:nvSpPr>
        <p:spPr>
          <a:xfrm>
            <a:off x="336995" y="2103216"/>
            <a:ext cx="1342515" cy="321865"/>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chemeClr val="bg2"/>
              </a:solidFill>
            </a:endParaRPr>
          </a:p>
        </p:txBody>
      </p:sp>
      <p:sp>
        <p:nvSpPr>
          <p:cNvPr id="5" name="Marcador de texto 4">
            <a:extLst>
              <a:ext uri="{FF2B5EF4-FFF2-40B4-BE49-F238E27FC236}">
                <a16:creationId xmlns:a16="http://schemas.microsoft.com/office/drawing/2014/main" xmlns="" id="{48B5E83E-7C2D-A244-8752-4DF4034F3A5B}"/>
              </a:ext>
            </a:extLst>
          </p:cNvPr>
          <p:cNvSpPr>
            <a:spLocks noGrp="1"/>
          </p:cNvSpPr>
          <p:nvPr>
            <p:ph type="body" sz="quarter" idx="61"/>
          </p:nvPr>
        </p:nvSpPr>
        <p:spPr/>
        <p:txBody>
          <a:bodyPr/>
          <a:lstStyle/>
          <a:p>
            <a:r>
              <a:rPr lang="es-ES" dirty="0">
                <a:latin typeface="ACHS Nueva Serif" pitchFamily="2" charset="77"/>
              </a:rPr>
              <a:t>Objetivo de la charla</a:t>
            </a:r>
          </a:p>
        </p:txBody>
      </p:sp>
      <p:sp>
        <p:nvSpPr>
          <p:cNvPr id="7" name="Marcador de texto 4">
            <a:extLst>
              <a:ext uri="{FF2B5EF4-FFF2-40B4-BE49-F238E27FC236}">
                <a16:creationId xmlns:a16="http://schemas.microsoft.com/office/drawing/2014/main" xmlns="" id="{1604DFED-2FA4-CD48-8413-1162F6E90292}"/>
              </a:ext>
            </a:extLst>
          </p:cNvPr>
          <p:cNvSpPr txBox="1">
            <a:spLocks/>
          </p:cNvSpPr>
          <p:nvPr/>
        </p:nvSpPr>
        <p:spPr>
          <a:xfrm>
            <a:off x="449263" y="2841171"/>
            <a:ext cx="4792208" cy="2475821"/>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solidFill>
                  <a:schemeClr val="tx1"/>
                </a:solidFill>
                <a:latin typeface="ACHS Nueva Sans Medium" pitchFamily="2" charset="77"/>
              </a:rPr>
              <a:t>Difundir entre los trabajadores que se encuentran expuestos el protocolo de Hiperbaria.</a:t>
            </a:r>
          </a:p>
        </p:txBody>
      </p:sp>
      <p:sp>
        <p:nvSpPr>
          <p:cNvPr id="8" name="Marcador de texto 7">
            <a:extLst>
              <a:ext uri="{FF2B5EF4-FFF2-40B4-BE49-F238E27FC236}">
                <a16:creationId xmlns:a16="http://schemas.microsoft.com/office/drawing/2014/main" xmlns="" id="{86DA05A2-E962-2A45-B547-415D3AA18A95}"/>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solidFill>
                  <a:schemeClr val="bg2"/>
                </a:solidFill>
                <a:latin typeface="ACHS Nueva Serif" pitchFamily="2" charset="77"/>
              </a:rPr>
              <a:t>OBJETIVO</a:t>
            </a:r>
          </a:p>
        </p:txBody>
      </p:sp>
      <p:pic>
        <p:nvPicPr>
          <p:cNvPr id="9" name="Imagen 8">
            <a:extLst>
              <a:ext uri="{FF2B5EF4-FFF2-40B4-BE49-F238E27FC236}">
                <a16:creationId xmlns:a16="http://schemas.microsoft.com/office/drawing/2014/main" xmlns="" id="{0EE22805-5A3B-C642-898F-1E1393E82D5C}"/>
              </a:ext>
            </a:extLst>
          </p:cNvPr>
          <p:cNvPicPr>
            <a:picLocks noChangeAspect="1"/>
          </p:cNvPicPr>
          <p:nvPr/>
        </p:nvPicPr>
        <p:blipFill>
          <a:blip r:embed="rId4"/>
          <a:stretch>
            <a:fillRect/>
          </a:stretch>
        </p:blipFill>
        <p:spPr>
          <a:xfrm>
            <a:off x="6988304" y="1898027"/>
            <a:ext cx="5376962" cy="5535109"/>
          </a:xfrm>
          <a:prstGeom prst="rect">
            <a:avLst/>
          </a:prstGeom>
        </p:spPr>
      </p:pic>
    </p:spTree>
    <p:custDataLst>
      <p:tags r:id="rId1"/>
    </p:custDataLst>
    <p:extLst>
      <p:ext uri="{BB962C8B-B14F-4D97-AF65-F5344CB8AC3E}">
        <p14:creationId xmlns:p14="http://schemas.microsoft.com/office/powerpoint/2010/main" val="1864440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Marcador de texto 4">
            <a:extLst>
              <a:ext uri="{FF2B5EF4-FFF2-40B4-BE49-F238E27FC236}">
                <a16:creationId xmlns:a16="http://schemas.microsoft.com/office/drawing/2014/main" xmlns="" id="{2DDBB90B-5BC8-9143-8E5D-B1089498B29B}"/>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erif" pitchFamily="2" charset="77"/>
              </a:rPr>
              <a:t>Objetivo de la charla</a:t>
            </a:r>
          </a:p>
        </p:txBody>
      </p:sp>
      <p:sp>
        <p:nvSpPr>
          <p:cNvPr id="14" name="Rectángulo redondeado 13">
            <a:extLst>
              <a:ext uri="{FF2B5EF4-FFF2-40B4-BE49-F238E27FC236}">
                <a16:creationId xmlns:a16="http://schemas.microsoft.com/office/drawing/2014/main" xmlns="" id="{98A930FF-8C04-FE48-95D0-6A4A8E4925AA}"/>
              </a:ext>
            </a:extLst>
          </p:cNvPr>
          <p:cNvSpPr/>
          <p:nvPr/>
        </p:nvSpPr>
        <p:spPr>
          <a:xfrm>
            <a:off x="1386993" y="2093886"/>
            <a:ext cx="1157799" cy="321865"/>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chemeClr val="bg2"/>
              </a:solidFill>
            </a:endParaRPr>
          </a:p>
        </p:txBody>
      </p:sp>
      <p:sp>
        <p:nvSpPr>
          <p:cNvPr id="15" name="Marcador de texto 4">
            <a:extLst>
              <a:ext uri="{FF2B5EF4-FFF2-40B4-BE49-F238E27FC236}">
                <a16:creationId xmlns:a16="http://schemas.microsoft.com/office/drawing/2014/main" xmlns="" id="{B6D60091-6879-B04A-B1D9-ABCF8CBA0241}"/>
              </a:ext>
            </a:extLst>
          </p:cNvPr>
          <p:cNvSpPr txBox="1">
            <a:spLocks/>
          </p:cNvSpPr>
          <p:nvPr/>
        </p:nvSpPr>
        <p:spPr>
          <a:xfrm>
            <a:off x="449263" y="2841171"/>
            <a:ext cx="4792208" cy="2804255"/>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solidFill>
                  <a:schemeClr val="tx1"/>
                </a:solidFill>
                <a:latin typeface="ACHS Nueva Sans Medium" pitchFamily="2" charset="77"/>
              </a:rPr>
              <a:t>Ser trabajador de empresa que se encuentran afiliadas a ACHS y que por su trabajo, se encuentran expuesto a hiperbaria. </a:t>
            </a:r>
          </a:p>
        </p:txBody>
      </p:sp>
      <p:sp>
        <p:nvSpPr>
          <p:cNvPr id="16" name="Marcador de texto 7">
            <a:extLst>
              <a:ext uri="{FF2B5EF4-FFF2-40B4-BE49-F238E27FC236}">
                <a16:creationId xmlns:a16="http://schemas.microsoft.com/office/drawing/2014/main" xmlns="" id="{5A7AFA07-D1CE-E747-8D81-6E3222C0EC07}"/>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solidFill>
                  <a:schemeClr val="bg2"/>
                </a:solidFill>
                <a:latin typeface="ACHS Nueva Serif" pitchFamily="2" charset="77"/>
              </a:rPr>
              <a:t>PÚBLICO OBJETIVO:</a:t>
            </a:r>
          </a:p>
        </p:txBody>
      </p:sp>
      <p:pic>
        <p:nvPicPr>
          <p:cNvPr id="17" name="Imagen 16">
            <a:extLst>
              <a:ext uri="{FF2B5EF4-FFF2-40B4-BE49-F238E27FC236}">
                <a16:creationId xmlns:a16="http://schemas.microsoft.com/office/drawing/2014/main" xmlns="" id="{41C3B056-5A5E-674B-A9B6-869BE0EAD85A}"/>
              </a:ext>
            </a:extLst>
          </p:cNvPr>
          <p:cNvPicPr>
            <a:picLocks noChangeAspect="1"/>
          </p:cNvPicPr>
          <p:nvPr/>
        </p:nvPicPr>
        <p:blipFill>
          <a:blip r:embed="rId4"/>
          <a:stretch>
            <a:fillRect/>
          </a:stretch>
        </p:blipFill>
        <p:spPr>
          <a:xfrm>
            <a:off x="6760029" y="2093886"/>
            <a:ext cx="4792208" cy="4792208"/>
          </a:xfrm>
          <a:prstGeom prst="rect">
            <a:avLst/>
          </a:prstGeom>
        </p:spPr>
      </p:pic>
    </p:spTree>
    <p:custDataLst>
      <p:tags r:id="rId1"/>
    </p:custDataLst>
    <p:extLst>
      <p:ext uri="{BB962C8B-B14F-4D97-AF65-F5344CB8AC3E}">
        <p14:creationId xmlns:p14="http://schemas.microsoft.com/office/powerpoint/2010/main" val="2078037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4">
            <a:extLst>
              <a:ext uri="{FF2B5EF4-FFF2-40B4-BE49-F238E27FC236}">
                <a16:creationId xmlns:a16="http://schemas.microsoft.com/office/drawing/2014/main" xmlns="" id="{E40CE675-CE60-E54A-872A-0140FC44E589}"/>
              </a:ext>
            </a:extLst>
          </p:cNvPr>
          <p:cNvSpPr txBox="1">
            <a:spLocks/>
          </p:cNvSpPr>
          <p:nvPr/>
        </p:nvSpPr>
        <p:spPr>
          <a:xfrm>
            <a:off x="449262" y="496570"/>
            <a:ext cx="9865812" cy="356283"/>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Introducción</a:t>
            </a:r>
          </a:p>
        </p:txBody>
      </p:sp>
      <p:sp>
        <p:nvSpPr>
          <p:cNvPr id="9" name="Text Placeholder 15">
            <a:extLst>
              <a:ext uri="{FF2B5EF4-FFF2-40B4-BE49-F238E27FC236}">
                <a16:creationId xmlns:a16="http://schemas.microsoft.com/office/drawing/2014/main" xmlns="" id="{49DB77B2-4B58-3A48-88CA-EDE0BCA8B5E7}"/>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Medium" pitchFamily="2" charset="77"/>
              </a:rPr>
              <a:t>¿Qué entendemos por este protocolo?</a:t>
            </a:r>
          </a:p>
        </p:txBody>
      </p:sp>
      <p:sp>
        <p:nvSpPr>
          <p:cNvPr id="10" name="Marcador de texto 5">
            <a:extLst>
              <a:ext uri="{FF2B5EF4-FFF2-40B4-BE49-F238E27FC236}">
                <a16:creationId xmlns:a16="http://schemas.microsoft.com/office/drawing/2014/main" xmlns="" id="{D66A7A32-1ECB-BE49-8EBE-0541B9466536}"/>
              </a:ext>
            </a:extLst>
          </p:cNvPr>
          <p:cNvSpPr txBox="1">
            <a:spLocks/>
          </p:cNvSpPr>
          <p:nvPr/>
        </p:nvSpPr>
        <p:spPr>
          <a:xfrm>
            <a:off x="449263" y="1539082"/>
            <a:ext cx="3301326" cy="208752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Protocolo Vigilancia Epidemiológica trabajadores Expuestos a Condiciones hiperbáricas establece las herramientas que permitan controlar el riesgo y detectar tempranamente los daños en la salud de los trabajadores.</a:t>
            </a:r>
          </a:p>
        </p:txBody>
      </p:sp>
      <p:pic>
        <p:nvPicPr>
          <p:cNvPr id="11" name="Picture 42">
            <a:extLst>
              <a:ext uri="{FF2B5EF4-FFF2-40B4-BE49-F238E27FC236}">
                <a16:creationId xmlns:a16="http://schemas.microsoft.com/office/drawing/2014/main" xmlns="" id="{3DACCC70-1D57-5A4A-98DA-EA6DF05B92A9}"/>
              </a:ext>
            </a:extLst>
          </p:cNvPr>
          <p:cNvPicPr>
            <a:picLocks noChangeAspect="1"/>
          </p:cNvPicPr>
          <p:nvPr/>
        </p:nvPicPr>
        <p:blipFill>
          <a:blip r:embed="rId3"/>
          <a:stretch>
            <a:fillRect/>
          </a:stretch>
        </p:blipFill>
        <p:spPr>
          <a:xfrm>
            <a:off x="7501643" y="2484728"/>
            <a:ext cx="3618307" cy="5105282"/>
          </a:xfrm>
          <a:prstGeom prst="rect">
            <a:avLst/>
          </a:prstGeom>
        </p:spPr>
      </p:pic>
    </p:spTree>
    <p:custDataLst>
      <p:tags r:id="rId1"/>
    </p:custDataLst>
    <p:extLst>
      <p:ext uri="{BB962C8B-B14F-4D97-AF65-F5344CB8AC3E}">
        <p14:creationId xmlns:p14="http://schemas.microsoft.com/office/powerpoint/2010/main" val="2236295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4">
            <a:extLst>
              <a:ext uri="{FF2B5EF4-FFF2-40B4-BE49-F238E27FC236}">
                <a16:creationId xmlns:a16="http://schemas.microsoft.com/office/drawing/2014/main" xmlns="" id="{E40CE675-CE60-E54A-872A-0140FC44E589}"/>
              </a:ext>
            </a:extLst>
          </p:cNvPr>
          <p:cNvSpPr txBox="1">
            <a:spLocks/>
          </p:cNvSpPr>
          <p:nvPr/>
        </p:nvSpPr>
        <p:spPr>
          <a:xfrm>
            <a:off x="449262" y="496570"/>
            <a:ext cx="9865812" cy="356283"/>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Introducción</a:t>
            </a:r>
          </a:p>
        </p:txBody>
      </p:sp>
      <p:sp>
        <p:nvSpPr>
          <p:cNvPr id="9" name="Text Placeholder 15">
            <a:extLst>
              <a:ext uri="{FF2B5EF4-FFF2-40B4-BE49-F238E27FC236}">
                <a16:creationId xmlns:a16="http://schemas.microsoft.com/office/drawing/2014/main" xmlns="" id="{49DB77B2-4B58-3A48-88CA-EDE0BCA8B5E7}"/>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Medium" pitchFamily="2" charset="77"/>
              </a:rPr>
              <a:t>¿Qué entendemos por este protocolo?</a:t>
            </a:r>
          </a:p>
        </p:txBody>
      </p:sp>
      <p:sp>
        <p:nvSpPr>
          <p:cNvPr id="10" name="Marcador de texto 5">
            <a:extLst>
              <a:ext uri="{FF2B5EF4-FFF2-40B4-BE49-F238E27FC236}">
                <a16:creationId xmlns:a16="http://schemas.microsoft.com/office/drawing/2014/main" xmlns="" id="{D66A7A32-1ECB-BE49-8EBE-0541B9466536}"/>
              </a:ext>
            </a:extLst>
          </p:cNvPr>
          <p:cNvSpPr txBox="1">
            <a:spLocks/>
          </p:cNvSpPr>
          <p:nvPr/>
        </p:nvSpPr>
        <p:spPr>
          <a:xfrm>
            <a:off x="449262" y="1539082"/>
            <a:ext cx="3301327" cy="355986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Representar el marco regulatorio que, además de incluir la vigilancia médica necesaria, considera aspectos de control ambiental, asociados a la elaboración de evaluaciones cualitativas del nivel de riesgo, sobre la base del tipo y características de los procesos, tareas, medios de control existentes y frecuencia de exposición a los agentes de riesgo identificados (condiciones hiperbáricas). </a:t>
            </a:r>
          </a:p>
        </p:txBody>
      </p:sp>
      <p:pic>
        <p:nvPicPr>
          <p:cNvPr id="11" name="Picture 42">
            <a:extLst>
              <a:ext uri="{FF2B5EF4-FFF2-40B4-BE49-F238E27FC236}">
                <a16:creationId xmlns:a16="http://schemas.microsoft.com/office/drawing/2014/main" xmlns="" id="{5AAA6CA3-5BD5-504B-AB48-B2647048FCCF}"/>
              </a:ext>
            </a:extLst>
          </p:cNvPr>
          <p:cNvPicPr>
            <a:picLocks noChangeAspect="1"/>
          </p:cNvPicPr>
          <p:nvPr/>
        </p:nvPicPr>
        <p:blipFill>
          <a:blip r:embed="rId3"/>
          <a:stretch>
            <a:fillRect/>
          </a:stretch>
        </p:blipFill>
        <p:spPr>
          <a:xfrm>
            <a:off x="7501643" y="2484728"/>
            <a:ext cx="3618307" cy="5105282"/>
          </a:xfrm>
          <a:prstGeom prst="rect">
            <a:avLst/>
          </a:prstGeom>
        </p:spPr>
      </p:pic>
    </p:spTree>
    <p:custDataLst>
      <p:tags r:id="rId1"/>
    </p:custDataLst>
    <p:extLst>
      <p:ext uri="{BB962C8B-B14F-4D97-AF65-F5344CB8AC3E}">
        <p14:creationId xmlns:p14="http://schemas.microsoft.com/office/powerpoint/2010/main" val="1414428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4">
            <a:extLst>
              <a:ext uri="{FF2B5EF4-FFF2-40B4-BE49-F238E27FC236}">
                <a16:creationId xmlns:a16="http://schemas.microsoft.com/office/drawing/2014/main" xmlns="" id="{E40CE675-CE60-E54A-872A-0140FC44E589}"/>
              </a:ext>
            </a:extLst>
          </p:cNvPr>
          <p:cNvSpPr txBox="1">
            <a:spLocks/>
          </p:cNvSpPr>
          <p:nvPr/>
        </p:nvSpPr>
        <p:spPr>
          <a:xfrm>
            <a:off x="449262" y="496570"/>
            <a:ext cx="9865812" cy="356283"/>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Legislación vigente</a:t>
            </a:r>
          </a:p>
        </p:txBody>
      </p:sp>
      <p:sp>
        <p:nvSpPr>
          <p:cNvPr id="9" name="Text Placeholder 15">
            <a:extLst>
              <a:ext uri="{FF2B5EF4-FFF2-40B4-BE49-F238E27FC236}">
                <a16:creationId xmlns:a16="http://schemas.microsoft.com/office/drawing/2014/main" xmlns="" id="{49DB77B2-4B58-3A48-88CA-EDE0BCA8B5E7}"/>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Medium" pitchFamily="2" charset="77"/>
              </a:rPr>
              <a:t>Marco Regulatorio</a:t>
            </a:r>
          </a:p>
        </p:txBody>
      </p:sp>
      <p:grpSp>
        <p:nvGrpSpPr>
          <p:cNvPr id="3" name="Grupo 2">
            <a:extLst>
              <a:ext uri="{FF2B5EF4-FFF2-40B4-BE49-F238E27FC236}">
                <a16:creationId xmlns:a16="http://schemas.microsoft.com/office/drawing/2014/main" xmlns="" id="{9F581AF1-D25A-F940-B1C5-5246740F5009}"/>
              </a:ext>
            </a:extLst>
          </p:cNvPr>
          <p:cNvGrpSpPr/>
          <p:nvPr/>
        </p:nvGrpSpPr>
        <p:grpSpPr>
          <a:xfrm>
            <a:off x="1673628" y="1641799"/>
            <a:ext cx="8369274" cy="4830757"/>
            <a:chOff x="1673628" y="1641799"/>
            <a:chExt cx="8369274" cy="4830757"/>
          </a:xfrm>
        </p:grpSpPr>
        <p:sp>
          <p:nvSpPr>
            <p:cNvPr id="12" name="Freeform 6">
              <a:extLst>
                <a:ext uri="{FF2B5EF4-FFF2-40B4-BE49-F238E27FC236}">
                  <a16:creationId xmlns:a16="http://schemas.microsoft.com/office/drawing/2014/main" xmlns="" id="{F20ECB1E-BEDB-3145-B29E-CE649A955817}"/>
                </a:ext>
              </a:extLst>
            </p:cNvPr>
            <p:cNvSpPr/>
            <p:nvPr/>
          </p:nvSpPr>
          <p:spPr>
            <a:xfrm>
              <a:off x="3644926" y="1641799"/>
              <a:ext cx="6397975" cy="1016643"/>
            </a:xfrm>
            <a:custGeom>
              <a:avLst/>
              <a:gdLst>
                <a:gd name="connsiteX0" fmla="*/ 0 w 5614677"/>
                <a:gd name="connsiteY0" fmla="*/ 0 h 918211"/>
                <a:gd name="connsiteX1" fmla="*/ 5614677 w 5614677"/>
                <a:gd name="connsiteY1" fmla="*/ 0 h 918211"/>
                <a:gd name="connsiteX2" fmla="*/ 5614677 w 5614677"/>
                <a:gd name="connsiteY2" fmla="*/ 918211 h 918211"/>
                <a:gd name="connsiteX3" fmla="*/ 0 w 5614677"/>
                <a:gd name="connsiteY3" fmla="*/ 918211 h 918211"/>
                <a:gd name="connsiteX4" fmla="*/ 0 w 5614677"/>
                <a:gd name="connsiteY4" fmla="*/ 0 h 918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4677" h="918211">
                  <a:moveTo>
                    <a:pt x="0" y="0"/>
                  </a:moveTo>
                  <a:lnTo>
                    <a:pt x="5614677" y="0"/>
                  </a:lnTo>
                  <a:lnTo>
                    <a:pt x="5614677" y="918211"/>
                  </a:lnTo>
                  <a:lnTo>
                    <a:pt x="0" y="918211"/>
                  </a:lnTo>
                  <a:lnTo>
                    <a:pt x="0" y="0"/>
                  </a:lnTo>
                  <a:close/>
                </a:path>
              </a:pathLst>
            </a:custGeom>
            <a:solidFill>
              <a:schemeClr val="tx2"/>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8000" tIns="50400" rIns="108000" bIns="49530" numCol="1" spcCol="1270" anchor="ctr" anchorCtr="0">
              <a:noAutofit/>
            </a:bodyPr>
            <a:lstStyle/>
            <a:p>
              <a:pPr defTabSz="577850">
                <a:lnSpc>
                  <a:spcPct val="90000"/>
                </a:lnSpc>
                <a:spcBef>
                  <a:spcPct val="0"/>
                </a:spcBef>
                <a:spcAft>
                  <a:spcPct val="35000"/>
                </a:spcAft>
              </a:pPr>
              <a:r>
                <a:rPr lang="es-CL" altLang="es-CL" sz="1600" dirty="0">
                  <a:solidFill>
                    <a:schemeClr val="tx1"/>
                  </a:solidFill>
                  <a:latin typeface="ACHS Nueva Sans Medium" pitchFamily="2" charset="77"/>
                  <a:ea typeface="+mj-ea"/>
                  <a:cs typeface="Arial"/>
                </a:rPr>
                <a:t>“Aprueba el Reglamento de Buceo para Buzos Profesionales”. </a:t>
              </a:r>
              <a:endParaRPr lang="es-CL" sz="1600" kern="1200" dirty="0">
                <a:solidFill>
                  <a:schemeClr val="tx1"/>
                </a:solidFill>
                <a:latin typeface="ACHS Nueva Sans Medium" pitchFamily="2" charset="77"/>
              </a:endParaRPr>
            </a:p>
          </p:txBody>
        </p:sp>
        <p:sp>
          <p:nvSpPr>
            <p:cNvPr id="13" name="Freeform 5">
              <a:extLst>
                <a:ext uri="{FF2B5EF4-FFF2-40B4-BE49-F238E27FC236}">
                  <a16:creationId xmlns:a16="http://schemas.microsoft.com/office/drawing/2014/main" xmlns="" id="{A2D26A81-4B6E-D943-B927-8A27A7D475E2}"/>
                </a:ext>
              </a:extLst>
            </p:cNvPr>
            <p:cNvSpPr/>
            <p:nvPr/>
          </p:nvSpPr>
          <p:spPr>
            <a:xfrm>
              <a:off x="1673628" y="1641799"/>
              <a:ext cx="1971298" cy="1016643"/>
            </a:xfrm>
            <a:custGeom>
              <a:avLst/>
              <a:gdLst>
                <a:gd name="connsiteX0" fmla="*/ 0 w 1430491"/>
                <a:gd name="connsiteY0" fmla="*/ 0 h 1011020"/>
                <a:gd name="connsiteX1" fmla="*/ 1430491 w 1430491"/>
                <a:gd name="connsiteY1" fmla="*/ 0 h 1011020"/>
                <a:gd name="connsiteX2" fmla="*/ 1430491 w 1430491"/>
                <a:gd name="connsiteY2" fmla="*/ 1011020 h 1011020"/>
                <a:gd name="connsiteX3" fmla="*/ 0 w 1430491"/>
                <a:gd name="connsiteY3" fmla="*/ 1011020 h 1011020"/>
                <a:gd name="connsiteX4" fmla="*/ 0 w 1430491"/>
                <a:gd name="connsiteY4" fmla="*/ 0 h 1011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0491" h="1011020">
                  <a:moveTo>
                    <a:pt x="0" y="0"/>
                  </a:moveTo>
                  <a:lnTo>
                    <a:pt x="1430491" y="0"/>
                  </a:lnTo>
                  <a:lnTo>
                    <a:pt x="1430491" y="1011020"/>
                  </a:lnTo>
                  <a:lnTo>
                    <a:pt x="0" y="1011020"/>
                  </a:lnTo>
                  <a:lnTo>
                    <a:pt x="0" y="0"/>
                  </a:lnTo>
                  <a:close/>
                </a:path>
              </a:pathLst>
            </a:custGeom>
            <a:solidFill>
              <a:schemeClr val="accent1"/>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530" tIns="49530" rIns="49530" bIns="49530" numCol="1" spcCol="1270" anchor="ctr" anchorCtr="0">
              <a:noAutofit/>
            </a:bodyPr>
            <a:lstStyle/>
            <a:p>
              <a:pPr lvl="0" algn="ctr" defTabSz="577850"/>
              <a:r>
                <a:rPr lang="es-CL" sz="1500" b="1" dirty="0">
                  <a:solidFill>
                    <a:schemeClr val="bg1"/>
                  </a:solidFill>
                  <a:latin typeface="ACHS Nueva Sans Medium" pitchFamily="2" charset="77"/>
                  <a:cs typeface="Arial" panose="020B0604020202020204" pitchFamily="34" charset="0"/>
                </a:rPr>
                <a:t>Decreto Supremo </a:t>
              </a:r>
            </a:p>
            <a:p>
              <a:pPr lvl="0" algn="ctr" defTabSz="577850"/>
              <a:r>
                <a:rPr lang="es-CL" sz="1500" b="1" dirty="0">
                  <a:solidFill>
                    <a:schemeClr val="bg1"/>
                  </a:solidFill>
                  <a:latin typeface="ACHS Nueva Sans Medium" pitchFamily="2" charset="77"/>
                  <a:cs typeface="Arial" panose="020B0604020202020204" pitchFamily="34" charset="0"/>
                </a:rPr>
                <a:t>N° 752</a:t>
              </a:r>
              <a:endParaRPr lang="es-CL" sz="1500" b="1" kern="1200" dirty="0">
                <a:solidFill>
                  <a:schemeClr val="bg1"/>
                </a:solidFill>
                <a:latin typeface="ACHS Nueva Sans Medium" pitchFamily="2" charset="77"/>
                <a:cs typeface="Arial" panose="020B0604020202020204" pitchFamily="34" charset="0"/>
              </a:endParaRPr>
            </a:p>
          </p:txBody>
        </p:sp>
        <p:sp>
          <p:nvSpPr>
            <p:cNvPr id="15" name="Freeform 6">
              <a:extLst>
                <a:ext uri="{FF2B5EF4-FFF2-40B4-BE49-F238E27FC236}">
                  <a16:creationId xmlns:a16="http://schemas.microsoft.com/office/drawing/2014/main" xmlns="" id="{E31DF481-7CB4-1546-BDE7-2464052419C6}"/>
                </a:ext>
              </a:extLst>
            </p:cNvPr>
            <p:cNvSpPr/>
            <p:nvPr/>
          </p:nvSpPr>
          <p:spPr>
            <a:xfrm>
              <a:off x="3644926" y="2913170"/>
              <a:ext cx="6397975" cy="1016643"/>
            </a:xfrm>
            <a:custGeom>
              <a:avLst/>
              <a:gdLst>
                <a:gd name="connsiteX0" fmla="*/ 0 w 5614677"/>
                <a:gd name="connsiteY0" fmla="*/ 0 h 918211"/>
                <a:gd name="connsiteX1" fmla="*/ 5614677 w 5614677"/>
                <a:gd name="connsiteY1" fmla="*/ 0 h 918211"/>
                <a:gd name="connsiteX2" fmla="*/ 5614677 w 5614677"/>
                <a:gd name="connsiteY2" fmla="*/ 918211 h 918211"/>
                <a:gd name="connsiteX3" fmla="*/ 0 w 5614677"/>
                <a:gd name="connsiteY3" fmla="*/ 918211 h 918211"/>
                <a:gd name="connsiteX4" fmla="*/ 0 w 5614677"/>
                <a:gd name="connsiteY4" fmla="*/ 0 h 918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4677" h="918211">
                  <a:moveTo>
                    <a:pt x="0" y="0"/>
                  </a:moveTo>
                  <a:lnTo>
                    <a:pt x="5614677" y="0"/>
                  </a:lnTo>
                  <a:lnTo>
                    <a:pt x="5614677" y="918211"/>
                  </a:lnTo>
                  <a:lnTo>
                    <a:pt x="0" y="918211"/>
                  </a:lnTo>
                  <a:lnTo>
                    <a:pt x="0" y="0"/>
                  </a:lnTo>
                  <a:close/>
                </a:path>
              </a:pathLst>
            </a:custGeom>
            <a:solidFill>
              <a:schemeClr val="tx2"/>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8000" tIns="50400" rIns="108000" bIns="49530" numCol="1" spcCol="1270" anchor="ctr" anchorCtr="0">
              <a:noAutofit/>
            </a:bodyPr>
            <a:lstStyle/>
            <a:p>
              <a:pPr defTabSz="577850">
                <a:lnSpc>
                  <a:spcPct val="90000"/>
                </a:lnSpc>
                <a:spcBef>
                  <a:spcPct val="0"/>
                </a:spcBef>
                <a:spcAft>
                  <a:spcPct val="35000"/>
                </a:spcAft>
              </a:pPr>
              <a:r>
                <a:rPr lang="es-ES" altLang="es-CL" sz="1600" dirty="0">
                  <a:solidFill>
                    <a:schemeClr val="tx1"/>
                  </a:solidFill>
                  <a:latin typeface="ACHS Nueva Sans Medium" pitchFamily="2" charset="77"/>
                  <a:ea typeface="+mj-ea"/>
                  <a:cs typeface="Arial"/>
                </a:rPr>
                <a:t>“Modifica al Decreto N° 752, principalmente en lo relacionado con las definiciones de las distintas categorías de buzos”.</a:t>
              </a:r>
              <a:endParaRPr lang="es-CL" sz="1600" kern="1200" dirty="0">
                <a:solidFill>
                  <a:schemeClr val="tx1"/>
                </a:solidFill>
                <a:latin typeface="ACHS Nueva Sans Medium" pitchFamily="2" charset="77"/>
              </a:endParaRPr>
            </a:p>
          </p:txBody>
        </p:sp>
        <p:sp>
          <p:nvSpPr>
            <p:cNvPr id="16" name="Freeform 5">
              <a:extLst>
                <a:ext uri="{FF2B5EF4-FFF2-40B4-BE49-F238E27FC236}">
                  <a16:creationId xmlns:a16="http://schemas.microsoft.com/office/drawing/2014/main" xmlns="" id="{520CA504-7E42-BA48-AE51-B4F1D6DF44D7}"/>
                </a:ext>
              </a:extLst>
            </p:cNvPr>
            <p:cNvSpPr/>
            <p:nvPr/>
          </p:nvSpPr>
          <p:spPr>
            <a:xfrm>
              <a:off x="1673629" y="2913170"/>
              <a:ext cx="1971297" cy="1016643"/>
            </a:xfrm>
            <a:custGeom>
              <a:avLst/>
              <a:gdLst>
                <a:gd name="connsiteX0" fmla="*/ 0 w 1430491"/>
                <a:gd name="connsiteY0" fmla="*/ 0 h 1011020"/>
                <a:gd name="connsiteX1" fmla="*/ 1430491 w 1430491"/>
                <a:gd name="connsiteY1" fmla="*/ 0 h 1011020"/>
                <a:gd name="connsiteX2" fmla="*/ 1430491 w 1430491"/>
                <a:gd name="connsiteY2" fmla="*/ 1011020 h 1011020"/>
                <a:gd name="connsiteX3" fmla="*/ 0 w 1430491"/>
                <a:gd name="connsiteY3" fmla="*/ 1011020 h 1011020"/>
                <a:gd name="connsiteX4" fmla="*/ 0 w 1430491"/>
                <a:gd name="connsiteY4" fmla="*/ 0 h 1011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0491" h="1011020">
                  <a:moveTo>
                    <a:pt x="0" y="0"/>
                  </a:moveTo>
                  <a:lnTo>
                    <a:pt x="1430491" y="0"/>
                  </a:lnTo>
                  <a:lnTo>
                    <a:pt x="1430491" y="1011020"/>
                  </a:lnTo>
                  <a:lnTo>
                    <a:pt x="0" y="1011020"/>
                  </a:lnTo>
                  <a:lnTo>
                    <a:pt x="0" y="0"/>
                  </a:lnTo>
                  <a:close/>
                </a:path>
              </a:pathLst>
            </a:custGeom>
            <a:solidFill>
              <a:schemeClr val="accent1"/>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530" tIns="49530" rIns="49530" bIns="49530" numCol="1" spcCol="1270" anchor="ctr" anchorCtr="0">
              <a:noAutofit/>
            </a:bodyPr>
            <a:lstStyle/>
            <a:p>
              <a:pPr lvl="0" algn="ctr" defTabSz="577850"/>
              <a:r>
                <a:rPr lang="es-CL" sz="1500" b="1" dirty="0">
                  <a:solidFill>
                    <a:schemeClr val="bg1"/>
                  </a:solidFill>
                  <a:latin typeface="ACHS Nueva Sans Medium" pitchFamily="2" charset="77"/>
                  <a:cs typeface="Arial" panose="020B0604020202020204" pitchFamily="34" charset="0"/>
                </a:rPr>
                <a:t>Decreto Supremo </a:t>
              </a:r>
            </a:p>
            <a:p>
              <a:pPr lvl="0" algn="ctr" defTabSz="577850"/>
              <a:r>
                <a:rPr lang="es-CL" sz="1500" b="1" dirty="0">
                  <a:solidFill>
                    <a:schemeClr val="bg1"/>
                  </a:solidFill>
                  <a:latin typeface="ACHS Nueva Sans Medium" pitchFamily="2" charset="77"/>
                  <a:cs typeface="Arial" panose="020B0604020202020204" pitchFamily="34" charset="0"/>
                </a:rPr>
                <a:t>N° 11</a:t>
              </a:r>
            </a:p>
          </p:txBody>
        </p:sp>
        <p:sp>
          <p:nvSpPr>
            <p:cNvPr id="18" name="Freeform 6">
              <a:extLst>
                <a:ext uri="{FF2B5EF4-FFF2-40B4-BE49-F238E27FC236}">
                  <a16:creationId xmlns:a16="http://schemas.microsoft.com/office/drawing/2014/main" xmlns="" id="{6548A285-A8B3-6846-8A97-3C26B9CD3C48}"/>
                </a:ext>
              </a:extLst>
            </p:cNvPr>
            <p:cNvSpPr/>
            <p:nvPr/>
          </p:nvSpPr>
          <p:spPr>
            <a:xfrm>
              <a:off x="3644928" y="4184542"/>
              <a:ext cx="6397974" cy="1016643"/>
            </a:xfrm>
            <a:custGeom>
              <a:avLst/>
              <a:gdLst>
                <a:gd name="connsiteX0" fmla="*/ 0 w 5614677"/>
                <a:gd name="connsiteY0" fmla="*/ 0 h 918211"/>
                <a:gd name="connsiteX1" fmla="*/ 5614677 w 5614677"/>
                <a:gd name="connsiteY1" fmla="*/ 0 h 918211"/>
                <a:gd name="connsiteX2" fmla="*/ 5614677 w 5614677"/>
                <a:gd name="connsiteY2" fmla="*/ 918211 h 918211"/>
                <a:gd name="connsiteX3" fmla="*/ 0 w 5614677"/>
                <a:gd name="connsiteY3" fmla="*/ 918211 h 918211"/>
                <a:gd name="connsiteX4" fmla="*/ 0 w 5614677"/>
                <a:gd name="connsiteY4" fmla="*/ 0 h 918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4677" h="918211">
                  <a:moveTo>
                    <a:pt x="0" y="0"/>
                  </a:moveTo>
                  <a:lnTo>
                    <a:pt x="5614677" y="0"/>
                  </a:lnTo>
                  <a:lnTo>
                    <a:pt x="5614677" y="918211"/>
                  </a:lnTo>
                  <a:lnTo>
                    <a:pt x="0" y="918211"/>
                  </a:lnTo>
                  <a:lnTo>
                    <a:pt x="0" y="0"/>
                  </a:lnTo>
                  <a:close/>
                </a:path>
              </a:pathLst>
            </a:custGeom>
            <a:solidFill>
              <a:schemeClr val="tx2"/>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8000" tIns="50400" rIns="108000" bIns="49530" numCol="1" spcCol="1270" anchor="ctr" anchorCtr="0">
              <a:noAutofit/>
            </a:bodyPr>
            <a:lstStyle/>
            <a:p>
              <a:pPr defTabSz="577850">
                <a:lnSpc>
                  <a:spcPct val="90000"/>
                </a:lnSpc>
                <a:spcBef>
                  <a:spcPct val="0"/>
                </a:spcBef>
                <a:spcAft>
                  <a:spcPct val="35000"/>
                </a:spcAft>
              </a:pPr>
              <a:endParaRPr lang="es-ES" altLang="es-CL" sz="1600" dirty="0">
                <a:solidFill>
                  <a:schemeClr val="tx1"/>
                </a:solidFill>
                <a:latin typeface="ACHS Nueva Sans Medium" pitchFamily="2" charset="77"/>
                <a:ea typeface="+mj-ea"/>
                <a:cs typeface="Arial"/>
              </a:endParaRPr>
            </a:p>
            <a:p>
              <a:pPr defTabSz="577850">
                <a:lnSpc>
                  <a:spcPct val="90000"/>
                </a:lnSpc>
                <a:spcBef>
                  <a:spcPct val="0"/>
                </a:spcBef>
                <a:spcAft>
                  <a:spcPct val="35000"/>
                </a:spcAft>
              </a:pPr>
              <a:r>
                <a:rPr lang="es-ES" altLang="es-CL" sz="1600" dirty="0">
                  <a:solidFill>
                    <a:schemeClr val="tx1"/>
                  </a:solidFill>
                  <a:latin typeface="ACHS Nueva Sans Medium" pitchFamily="2" charset="77"/>
                  <a:ea typeface="+mj-ea"/>
                  <a:cs typeface="Arial"/>
                </a:rPr>
                <a:t>“Establece limitaciones de profundidad, personal mínimo requerido, exámenes y demostraciones prácticas para buceo profesional en el que se emplea aire como medio respiratorio”.</a:t>
              </a:r>
            </a:p>
            <a:p>
              <a:pPr lvl="0" defTabSz="577850">
                <a:lnSpc>
                  <a:spcPct val="90000"/>
                </a:lnSpc>
                <a:spcBef>
                  <a:spcPct val="0"/>
                </a:spcBef>
                <a:spcAft>
                  <a:spcPct val="35000"/>
                </a:spcAft>
              </a:pPr>
              <a:endParaRPr lang="es-CL" sz="1600" kern="1200" dirty="0">
                <a:solidFill>
                  <a:schemeClr val="tx1"/>
                </a:solidFill>
                <a:latin typeface="ACHS Nueva Sans Medium" pitchFamily="2" charset="77"/>
              </a:endParaRPr>
            </a:p>
          </p:txBody>
        </p:sp>
        <p:sp>
          <p:nvSpPr>
            <p:cNvPr id="19" name="Freeform 5">
              <a:extLst>
                <a:ext uri="{FF2B5EF4-FFF2-40B4-BE49-F238E27FC236}">
                  <a16:creationId xmlns:a16="http://schemas.microsoft.com/office/drawing/2014/main" xmlns="" id="{2F5D4C44-37F9-6D49-82FF-C7E12F6178B9}"/>
                </a:ext>
              </a:extLst>
            </p:cNvPr>
            <p:cNvSpPr/>
            <p:nvPr/>
          </p:nvSpPr>
          <p:spPr>
            <a:xfrm>
              <a:off x="1673628" y="4199559"/>
              <a:ext cx="1971297" cy="1001626"/>
            </a:xfrm>
            <a:custGeom>
              <a:avLst/>
              <a:gdLst>
                <a:gd name="connsiteX0" fmla="*/ 0 w 1430491"/>
                <a:gd name="connsiteY0" fmla="*/ 0 h 1011020"/>
                <a:gd name="connsiteX1" fmla="*/ 1430491 w 1430491"/>
                <a:gd name="connsiteY1" fmla="*/ 0 h 1011020"/>
                <a:gd name="connsiteX2" fmla="*/ 1430491 w 1430491"/>
                <a:gd name="connsiteY2" fmla="*/ 1011020 h 1011020"/>
                <a:gd name="connsiteX3" fmla="*/ 0 w 1430491"/>
                <a:gd name="connsiteY3" fmla="*/ 1011020 h 1011020"/>
                <a:gd name="connsiteX4" fmla="*/ 0 w 1430491"/>
                <a:gd name="connsiteY4" fmla="*/ 0 h 1011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0491" h="1011020">
                  <a:moveTo>
                    <a:pt x="0" y="0"/>
                  </a:moveTo>
                  <a:lnTo>
                    <a:pt x="1430491" y="0"/>
                  </a:lnTo>
                  <a:lnTo>
                    <a:pt x="1430491" y="1011020"/>
                  </a:lnTo>
                  <a:lnTo>
                    <a:pt x="0" y="1011020"/>
                  </a:lnTo>
                  <a:lnTo>
                    <a:pt x="0" y="0"/>
                  </a:lnTo>
                  <a:close/>
                </a:path>
              </a:pathLst>
            </a:custGeom>
            <a:solidFill>
              <a:schemeClr val="accent1"/>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530" tIns="49530" rIns="49530" bIns="49530" numCol="1" spcCol="1270" anchor="ctr" anchorCtr="0">
              <a:noAutofit/>
            </a:bodyPr>
            <a:lstStyle/>
            <a:p>
              <a:pPr lvl="0" algn="ctr" defTabSz="577850"/>
              <a:r>
                <a:rPr lang="es-ES" sz="1500" b="1" dirty="0">
                  <a:solidFill>
                    <a:schemeClr val="bg1"/>
                  </a:solidFill>
                  <a:latin typeface="ACHS Nueva Sans Medium" pitchFamily="2" charset="77"/>
                  <a:cs typeface="Arial" panose="020B0604020202020204" pitchFamily="34" charset="0"/>
                </a:rPr>
                <a:t>Circular DGTM y MM Ordinario A-2/002 de 2002</a:t>
              </a:r>
            </a:p>
          </p:txBody>
        </p:sp>
        <p:sp>
          <p:nvSpPr>
            <p:cNvPr id="21" name="Freeform 6">
              <a:extLst>
                <a:ext uri="{FF2B5EF4-FFF2-40B4-BE49-F238E27FC236}">
                  <a16:creationId xmlns:a16="http://schemas.microsoft.com/office/drawing/2014/main" xmlns="" id="{25D48D6E-4ADA-914A-AAB9-B75D83561B49}"/>
                </a:ext>
              </a:extLst>
            </p:cNvPr>
            <p:cNvSpPr/>
            <p:nvPr/>
          </p:nvSpPr>
          <p:spPr>
            <a:xfrm>
              <a:off x="3644927" y="5455913"/>
              <a:ext cx="6397972" cy="1016643"/>
            </a:xfrm>
            <a:custGeom>
              <a:avLst/>
              <a:gdLst>
                <a:gd name="connsiteX0" fmla="*/ 0 w 5614677"/>
                <a:gd name="connsiteY0" fmla="*/ 0 h 918211"/>
                <a:gd name="connsiteX1" fmla="*/ 5614677 w 5614677"/>
                <a:gd name="connsiteY1" fmla="*/ 0 h 918211"/>
                <a:gd name="connsiteX2" fmla="*/ 5614677 w 5614677"/>
                <a:gd name="connsiteY2" fmla="*/ 918211 h 918211"/>
                <a:gd name="connsiteX3" fmla="*/ 0 w 5614677"/>
                <a:gd name="connsiteY3" fmla="*/ 918211 h 918211"/>
                <a:gd name="connsiteX4" fmla="*/ 0 w 5614677"/>
                <a:gd name="connsiteY4" fmla="*/ 0 h 918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4677" h="918211">
                  <a:moveTo>
                    <a:pt x="0" y="0"/>
                  </a:moveTo>
                  <a:lnTo>
                    <a:pt x="5614677" y="0"/>
                  </a:lnTo>
                  <a:lnTo>
                    <a:pt x="5614677" y="918211"/>
                  </a:lnTo>
                  <a:lnTo>
                    <a:pt x="0" y="918211"/>
                  </a:lnTo>
                  <a:lnTo>
                    <a:pt x="0" y="0"/>
                  </a:lnTo>
                  <a:close/>
                </a:path>
              </a:pathLst>
            </a:custGeom>
            <a:solidFill>
              <a:schemeClr val="tx2"/>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8000" tIns="50400" rIns="108000" bIns="49530" numCol="1" spcCol="1270" anchor="ctr" anchorCtr="0">
              <a:noAutofit/>
            </a:bodyPr>
            <a:lstStyle/>
            <a:p>
              <a:pPr defTabSz="577850">
                <a:lnSpc>
                  <a:spcPct val="90000"/>
                </a:lnSpc>
                <a:spcBef>
                  <a:spcPct val="0"/>
                </a:spcBef>
                <a:spcAft>
                  <a:spcPct val="35000"/>
                </a:spcAft>
              </a:pPr>
              <a:endParaRPr lang="es-ES" altLang="es-CL" sz="1600" dirty="0">
                <a:solidFill>
                  <a:schemeClr val="tx1"/>
                </a:solidFill>
                <a:latin typeface="ACHS Nueva Sans Medium" pitchFamily="2" charset="77"/>
                <a:ea typeface="+mj-ea"/>
                <a:cs typeface="Arial"/>
              </a:endParaRPr>
            </a:p>
            <a:p>
              <a:pPr defTabSz="577850">
                <a:lnSpc>
                  <a:spcPct val="90000"/>
                </a:lnSpc>
                <a:spcBef>
                  <a:spcPct val="0"/>
                </a:spcBef>
                <a:spcAft>
                  <a:spcPct val="35000"/>
                </a:spcAft>
              </a:pPr>
              <a:r>
                <a:rPr lang="es-ES" altLang="es-CL" sz="1600" dirty="0">
                  <a:solidFill>
                    <a:schemeClr val="tx1"/>
                  </a:solidFill>
                  <a:latin typeface="ACHS Nueva Sans Medium" pitchFamily="2" charset="77"/>
                  <a:ea typeface="+mj-ea"/>
                  <a:cs typeface="Arial"/>
                </a:rPr>
                <a:t>“Condiciones sanitarias básicas de higiene en los lugares de trabajo y establece límites permisibles para agentes químicos, físicos y ergonómicos”.</a:t>
              </a:r>
            </a:p>
            <a:p>
              <a:pPr lvl="0" defTabSz="577850">
                <a:lnSpc>
                  <a:spcPct val="90000"/>
                </a:lnSpc>
                <a:spcBef>
                  <a:spcPct val="0"/>
                </a:spcBef>
                <a:spcAft>
                  <a:spcPct val="35000"/>
                </a:spcAft>
              </a:pPr>
              <a:endParaRPr lang="es-CL" sz="1600" kern="1200" dirty="0">
                <a:solidFill>
                  <a:schemeClr val="tx1"/>
                </a:solidFill>
                <a:latin typeface="ACHS Nueva Sans Medium" pitchFamily="2" charset="77"/>
              </a:endParaRPr>
            </a:p>
          </p:txBody>
        </p:sp>
        <p:sp>
          <p:nvSpPr>
            <p:cNvPr id="22" name="Freeform 5">
              <a:extLst>
                <a:ext uri="{FF2B5EF4-FFF2-40B4-BE49-F238E27FC236}">
                  <a16:creationId xmlns:a16="http://schemas.microsoft.com/office/drawing/2014/main" xmlns="" id="{19F10A9C-4C2C-404B-8200-2391C9B5D3D9}"/>
                </a:ext>
              </a:extLst>
            </p:cNvPr>
            <p:cNvSpPr/>
            <p:nvPr/>
          </p:nvSpPr>
          <p:spPr>
            <a:xfrm>
              <a:off x="1673629" y="5455913"/>
              <a:ext cx="1971296" cy="1016643"/>
            </a:xfrm>
            <a:custGeom>
              <a:avLst/>
              <a:gdLst>
                <a:gd name="connsiteX0" fmla="*/ 0 w 1430491"/>
                <a:gd name="connsiteY0" fmla="*/ 0 h 1011020"/>
                <a:gd name="connsiteX1" fmla="*/ 1430491 w 1430491"/>
                <a:gd name="connsiteY1" fmla="*/ 0 h 1011020"/>
                <a:gd name="connsiteX2" fmla="*/ 1430491 w 1430491"/>
                <a:gd name="connsiteY2" fmla="*/ 1011020 h 1011020"/>
                <a:gd name="connsiteX3" fmla="*/ 0 w 1430491"/>
                <a:gd name="connsiteY3" fmla="*/ 1011020 h 1011020"/>
                <a:gd name="connsiteX4" fmla="*/ 0 w 1430491"/>
                <a:gd name="connsiteY4" fmla="*/ 0 h 1011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0491" h="1011020">
                  <a:moveTo>
                    <a:pt x="0" y="0"/>
                  </a:moveTo>
                  <a:lnTo>
                    <a:pt x="1430491" y="0"/>
                  </a:lnTo>
                  <a:lnTo>
                    <a:pt x="1430491" y="1011020"/>
                  </a:lnTo>
                  <a:lnTo>
                    <a:pt x="0" y="1011020"/>
                  </a:lnTo>
                  <a:lnTo>
                    <a:pt x="0" y="0"/>
                  </a:lnTo>
                  <a:close/>
                </a:path>
              </a:pathLst>
            </a:custGeom>
            <a:solidFill>
              <a:schemeClr val="accent1"/>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530" tIns="49530" rIns="49530" bIns="49530" numCol="1" spcCol="1270" anchor="ctr" anchorCtr="0">
              <a:noAutofit/>
            </a:bodyPr>
            <a:lstStyle/>
            <a:p>
              <a:pPr lvl="0" algn="ctr" defTabSz="577850"/>
              <a:r>
                <a:rPr lang="es-ES" sz="1500" b="1" dirty="0">
                  <a:solidFill>
                    <a:schemeClr val="bg1"/>
                  </a:solidFill>
                  <a:latin typeface="ACHS Nueva Sans Medium" pitchFamily="2" charset="77"/>
                  <a:cs typeface="Arial" panose="020B0604020202020204" pitchFamily="34" charset="0"/>
                </a:rPr>
                <a:t>Decreto Supremo    </a:t>
              </a:r>
            </a:p>
            <a:p>
              <a:pPr lvl="0" algn="ctr" defTabSz="577850"/>
              <a:r>
                <a:rPr lang="es-ES" sz="1500" b="1" dirty="0">
                  <a:solidFill>
                    <a:schemeClr val="bg1"/>
                  </a:solidFill>
                  <a:latin typeface="ACHS Nueva Sans Medium" pitchFamily="2" charset="77"/>
                  <a:cs typeface="Arial" panose="020B0604020202020204" pitchFamily="34" charset="0"/>
                </a:rPr>
                <a:t>N° 594/1999</a:t>
              </a:r>
            </a:p>
          </p:txBody>
        </p:sp>
      </p:grpSp>
    </p:spTree>
    <p:custDataLst>
      <p:tags r:id="rId1"/>
    </p:custDataLst>
    <p:extLst>
      <p:ext uri="{BB962C8B-B14F-4D97-AF65-F5344CB8AC3E}">
        <p14:creationId xmlns:p14="http://schemas.microsoft.com/office/powerpoint/2010/main" val="498443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4">
            <a:extLst>
              <a:ext uri="{FF2B5EF4-FFF2-40B4-BE49-F238E27FC236}">
                <a16:creationId xmlns:a16="http://schemas.microsoft.com/office/drawing/2014/main" xmlns="" id="{E40CE675-CE60-E54A-872A-0140FC44E589}"/>
              </a:ext>
            </a:extLst>
          </p:cNvPr>
          <p:cNvSpPr txBox="1">
            <a:spLocks/>
          </p:cNvSpPr>
          <p:nvPr/>
        </p:nvSpPr>
        <p:spPr>
          <a:xfrm>
            <a:off x="449262" y="496570"/>
            <a:ext cx="9865812" cy="356283"/>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Reconocimiento del agente de riesgo</a:t>
            </a:r>
          </a:p>
        </p:txBody>
      </p:sp>
      <p:sp>
        <p:nvSpPr>
          <p:cNvPr id="9" name="Text Placeholder 15">
            <a:extLst>
              <a:ext uri="{FF2B5EF4-FFF2-40B4-BE49-F238E27FC236}">
                <a16:creationId xmlns:a16="http://schemas.microsoft.com/office/drawing/2014/main" xmlns="" id="{49DB77B2-4B58-3A48-88CA-EDE0BCA8B5E7}"/>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Medium" pitchFamily="2" charset="77"/>
              </a:rPr>
              <a:t>Marco Regulatorio</a:t>
            </a:r>
          </a:p>
        </p:txBody>
      </p:sp>
      <p:sp>
        <p:nvSpPr>
          <p:cNvPr id="14" name="Freeform 6">
            <a:extLst>
              <a:ext uri="{FF2B5EF4-FFF2-40B4-BE49-F238E27FC236}">
                <a16:creationId xmlns:a16="http://schemas.microsoft.com/office/drawing/2014/main" xmlns="" id="{B4F654CA-A5B3-4847-A1EA-7C343C9E9198}"/>
              </a:ext>
            </a:extLst>
          </p:cNvPr>
          <p:cNvSpPr/>
          <p:nvPr/>
        </p:nvSpPr>
        <p:spPr>
          <a:xfrm>
            <a:off x="1681650" y="2915591"/>
            <a:ext cx="3638045" cy="3118326"/>
          </a:xfrm>
          <a:custGeom>
            <a:avLst/>
            <a:gdLst>
              <a:gd name="connsiteX0" fmla="*/ 0 w 5614677"/>
              <a:gd name="connsiteY0" fmla="*/ 0 h 918211"/>
              <a:gd name="connsiteX1" fmla="*/ 5614677 w 5614677"/>
              <a:gd name="connsiteY1" fmla="*/ 0 h 918211"/>
              <a:gd name="connsiteX2" fmla="*/ 5614677 w 5614677"/>
              <a:gd name="connsiteY2" fmla="*/ 918211 h 918211"/>
              <a:gd name="connsiteX3" fmla="*/ 0 w 5614677"/>
              <a:gd name="connsiteY3" fmla="*/ 918211 h 918211"/>
              <a:gd name="connsiteX4" fmla="*/ 0 w 5614677"/>
              <a:gd name="connsiteY4" fmla="*/ 0 h 918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4677" h="918211">
                <a:moveTo>
                  <a:pt x="0" y="0"/>
                </a:moveTo>
                <a:lnTo>
                  <a:pt x="5614677" y="0"/>
                </a:lnTo>
                <a:lnTo>
                  <a:pt x="5614677" y="918211"/>
                </a:lnTo>
                <a:lnTo>
                  <a:pt x="0" y="918211"/>
                </a:lnTo>
                <a:lnTo>
                  <a:pt x="0" y="0"/>
                </a:lnTo>
                <a:close/>
              </a:path>
            </a:pathLst>
          </a:custGeom>
          <a:solidFill>
            <a:schemeClr val="tx2"/>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16000" tIns="144000" rIns="216000" bIns="144000" numCol="1" spcCol="1270" anchor="t" anchorCtr="0">
            <a:noAutofit/>
          </a:bodyPr>
          <a:lstStyle/>
          <a:p>
            <a:pPr defTabSz="577850">
              <a:lnSpc>
                <a:spcPct val="90000"/>
              </a:lnSpc>
              <a:spcBef>
                <a:spcPct val="0"/>
              </a:spcBef>
              <a:spcAft>
                <a:spcPct val="35000"/>
              </a:spcAft>
            </a:pPr>
            <a:r>
              <a:rPr lang="es-ES" altLang="es-CL" sz="1400" dirty="0">
                <a:solidFill>
                  <a:schemeClr val="tx1"/>
                </a:solidFill>
                <a:latin typeface="ACHS Nueva Sans Medium" pitchFamily="2" charset="77"/>
                <a:ea typeface="+mj-ea"/>
                <a:cs typeface="Arial"/>
              </a:rPr>
              <a:t>Los riesgos laborales asociados a la actividad de buceo profesional, se derivan de la exposición a agentes físicos, representados por factores ambientales propios del ambiente en el cual se desempeña:</a:t>
            </a:r>
          </a:p>
          <a:p>
            <a:pPr marL="360000" indent="-285750" defTabSz="577850">
              <a:lnSpc>
                <a:spcPct val="90000"/>
              </a:lnSpc>
              <a:spcBef>
                <a:spcPts val="600"/>
              </a:spcBef>
              <a:spcAft>
                <a:spcPct val="35000"/>
              </a:spcAft>
              <a:buClr>
                <a:schemeClr val="accent1"/>
              </a:buClr>
              <a:buFont typeface="Wingdings" pitchFamily="2" charset="2"/>
              <a:buChar char="§"/>
            </a:pPr>
            <a:r>
              <a:rPr lang="es-ES" altLang="es-CL" sz="1400" dirty="0">
                <a:solidFill>
                  <a:schemeClr val="tx1"/>
                </a:solidFill>
                <a:latin typeface="ACHS Nueva Sans Medium" pitchFamily="2" charset="77"/>
                <a:ea typeface="+mj-ea"/>
                <a:cs typeface="Arial"/>
              </a:rPr>
              <a:t> </a:t>
            </a:r>
            <a:r>
              <a:rPr lang="es-CL" sz="1400" dirty="0">
                <a:solidFill>
                  <a:schemeClr val="tx1"/>
                </a:solidFill>
                <a:latin typeface="ACHS Nueva Sans Medium" pitchFamily="2" charset="77"/>
                <a:ea typeface="+mj-ea"/>
                <a:cs typeface="Arial"/>
              </a:rPr>
              <a:t>Condiciones hiperbáricas (presión mayor a una atmósfera absoluta).</a:t>
            </a:r>
          </a:p>
          <a:p>
            <a:pPr marL="360000" indent="-285750" defTabSz="577850">
              <a:lnSpc>
                <a:spcPct val="90000"/>
              </a:lnSpc>
              <a:spcBef>
                <a:spcPts val="600"/>
              </a:spcBef>
              <a:spcAft>
                <a:spcPct val="35000"/>
              </a:spcAft>
              <a:buClr>
                <a:schemeClr val="accent1"/>
              </a:buClr>
              <a:buFont typeface="Wingdings" pitchFamily="2" charset="2"/>
              <a:buChar char="§"/>
            </a:pPr>
            <a:r>
              <a:rPr lang="es-ES" altLang="es-CL" sz="1400" dirty="0">
                <a:solidFill>
                  <a:schemeClr val="tx1"/>
                </a:solidFill>
                <a:latin typeface="ACHS Nueva Sans Medium" pitchFamily="2" charset="77"/>
                <a:cs typeface="Arial"/>
              </a:rPr>
              <a:t>Medio donde la temperatura es inferior a la del cuerpo humano (riesgo de hipotermia). </a:t>
            </a:r>
          </a:p>
        </p:txBody>
      </p:sp>
      <p:sp>
        <p:nvSpPr>
          <p:cNvPr id="17" name="Freeform 6">
            <a:extLst>
              <a:ext uri="{FF2B5EF4-FFF2-40B4-BE49-F238E27FC236}">
                <a16:creationId xmlns:a16="http://schemas.microsoft.com/office/drawing/2014/main" xmlns="" id="{753F3018-B912-6142-9004-3A11CC99D3B9}"/>
              </a:ext>
            </a:extLst>
          </p:cNvPr>
          <p:cNvSpPr/>
          <p:nvPr/>
        </p:nvSpPr>
        <p:spPr>
          <a:xfrm>
            <a:off x="6872303" y="2927153"/>
            <a:ext cx="3638046" cy="3095202"/>
          </a:xfrm>
          <a:custGeom>
            <a:avLst/>
            <a:gdLst>
              <a:gd name="connsiteX0" fmla="*/ 0 w 5614677"/>
              <a:gd name="connsiteY0" fmla="*/ 0 h 918211"/>
              <a:gd name="connsiteX1" fmla="*/ 5614677 w 5614677"/>
              <a:gd name="connsiteY1" fmla="*/ 0 h 918211"/>
              <a:gd name="connsiteX2" fmla="*/ 5614677 w 5614677"/>
              <a:gd name="connsiteY2" fmla="*/ 918211 h 918211"/>
              <a:gd name="connsiteX3" fmla="*/ 0 w 5614677"/>
              <a:gd name="connsiteY3" fmla="*/ 918211 h 918211"/>
              <a:gd name="connsiteX4" fmla="*/ 0 w 5614677"/>
              <a:gd name="connsiteY4" fmla="*/ 0 h 918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4677" h="918211">
                <a:moveTo>
                  <a:pt x="0" y="0"/>
                </a:moveTo>
                <a:lnTo>
                  <a:pt x="5614677" y="0"/>
                </a:lnTo>
                <a:lnTo>
                  <a:pt x="5614677" y="918211"/>
                </a:lnTo>
                <a:lnTo>
                  <a:pt x="0" y="918211"/>
                </a:lnTo>
                <a:lnTo>
                  <a:pt x="0" y="0"/>
                </a:lnTo>
                <a:close/>
              </a:path>
            </a:pathLst>
          </a:custGeom>
          <a:solidFill>
            <a:schemeClr val="tx2"/>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16000" tIns="144000" rIns="216000" bIns="144000" numCol="1" spcCol="1270" anchor="t" anchorCtr="0">
            <a:noAutofit/>
          </a:bodyPr>
          <a:lstStyle/>
          <a:p>
            <a:pPr defTabSz="577850">
              <a:lnSpc>
                <a:spcPct val="90000"/>
              </a:lnSpc>
              <a:spcBef>
                <a:spcPct val="0"/>
              </a:spcBef>
              <a:spcAft>
                <a:spcPct val="35000"/>
              </a:spcAft>
            </a:pPr>
            <a:r>
              <a:rPr lang="es-ES" altLang="es-CL" sz="1400" dirty="0">
                <a:solidFill>
                  <a:schemeClr val="tx1"/>
                </a:solidFill>
                <a:latin typeface="ACHS Nueva Sans Medium" pitchFamily="2" charset="77"/>
                <a:ea typeface="+mj-ea"/>
                <a:cs typeface="Arial"/>
              </a:rPr>
              <a:t>Los riesgo de exposición a agentes químicos, de acuerdo a la mezcla de gases que respira un buzo, además de oxígeno, están presentes:</a:t>
            </a:r>
          </a:p>
          <a:p>
            <a:pPr marL="360000" indent="-285750" defTabSz="577850">
              <a:lnSpc>
                <a:spcPct val="90000"/>
              </a:lnSpc>
              <a:spcBef>
                <a:spcPts val="600"/>
              </a:spcBef>
              <a:spcAft>
                <a:spcPct val="35000"/>
              </a:spcAft>
              <a:buClr>
                <a:schemeClr val="accent1"/>
              </a:buClr>
              <a:buFont typeface="Wingdings" pitchFamily="2" charset="2"/>
              <a:buChar char="§"/>
            </a:pPr>
            <a:r>
              <a:rPr lang="es-ES" altLang="es-CL" sz="1400" dirty="0">
                <a:solidFill>
                  <a:schemeClr val="tx1"/>
                </a:solidFill>
                <a:latin typeface="ACHS Nueva Sans Medium" pitchFamily="2" charset="77"/>
                <a:ea typeface="+mj-ea"/>
                <a:cs typeface="Arial"/>
              </a:rPr>
              <a:t>Nitrógeno.</a:t>
            </a:r>
          </a:p>
          <a:p>
            <a:pPr marL="360000" indent="-285750" defTabSz="577850">
              <a:lnSpc>
                <a:spcPct val="90000"/>
              </a:lnSpc>
              <a:spcBef>
                <a:spcPts val="600"/>
              </a:spcBef>
              <a:spcAft>
                <a:spcPct val="35000"/>
              </a:spcAft>
              <a:buClr>
                <a:schemeClr val="accent1"/>
              </a:buClr>
              <a:buFont typeface="Wingdings" pitchFamily="2" charset="2"/>
              <a:buChar char="§"/>
            </a:pPr>
            <a:r>
              <a:rPr lang="es-ES" altLang="es-CL" sz="1400" dirty="0">
                <a:solidFill>
                  <a:schemeClr val="tx1"/>
                </a:solidFill>
                <a:latin typeface="ACHS Nueva Sans Medium" pitchFamily="2" charset="77"/>
                <a:ea typeface="+mj-ea"/>
                <a:cs typeface="Arial"/>
              </a:rPr>
              <a:t>Dióxido de carbono.</a:t>
            </a:r>
          </a:p>
          <a:p>
            <a:pPr marL="360000" indent="-285750" defTabSz="577850">
              <a:lnSpc>
                <a:spcPct val="90000"/>
              </a:lnSpc>
              <a:spcBef>
                <a:spcPts val="600"/>
              </a:spcBef>
              <a:spcAft>
                <a:spcPct val="35000"/>
              </a:spcAft>
              <a:buClr>
                <a:schemeClr val="accent1"/>
              </a:buClr>
              <a:buFont typeface="Wingdings" pitchFamily="2" charset="2"/>
              <a:buChar char="§"/>
            </a:pPr>
            <a:r>
              <a:rPr lang="es-ES" altLang="es-CL" sz="1400" dirty="0">
                <a:solidFill>
                  <a:schemeClr val="tx1"/>
                </a:solidFill>
                <a:latin typeface="ACHS Nueva Sans Medium" pitchFamily="2" charset="77"/>
                <a:ea typeface="+mj-ea"/>
                <a:cs typeface="Arial"/>
              </a:rPr>
              <a:t>Eventualmente monóxido de carbono. (se puede infiltrar accidentalmente en el sistema de suministro de aire comprimido). </a:t>
            </a:r>
          </a:p>
        </p:txBody>
      </p:sp>
      <p:sp>
        <p:nvSpPr>
          <p:cNvPr id="20" name="Rectangle 12">
            <a:extLst>
              <a:ext uri="{FF2B5EF4-FFF2-40B4-BE49-F238E27FC236}">
                <a16:creationId xmlns:a16="http://schemas.microsoft.com/office/drawing/2014/main" xmlns="" id="{EF182548-0C1D-604F-B4F8-8011B7734715}"/>
              </a:ext>
            </a:extLst>
          </p:cNvPr>
          <p:cNvSpPr>
            <a:spLocks noChangeArrowheads="1"/>
          </p:cNvSpPr>
          <p:nvPr/>
        </p:nvSpPr>
        <p:spPr bwMode="auto">
          <a:xfrm>
            <a:off x="1690563" y="1882510"/>
            <a:ext cx="3620221" cy="923333"/>
          </a:xfrm>
          <a:prstGeom prst="rect">
            <a:avLst/>
          </a:prstGeom>
          <a:solidFill>
            <a:schemeClr val="accent1"/>
          </a:solidFill>
          <a:ln w="9525">
            <a:noFill/>
            <a:miter lim="800000"/>
            <a:headEnd/>
            <a:tailEnd/>
          </a:ln>
          <a:effectLst/>
        </p:spPr>
        <p:txBody>
          <a:bodyPr wrap="none" lIns="827999" rIns="36000" anchor="ctr"/>
          <a:lstStyle/>
          <a:p>
            <a:pPr marL="92075" indent="-80963"/>
            <a:r>
              <a:rPr lang="es-ES" altLang="ko-KR" sz="1600" b="1" dirty="0">
                <a:solidFill>
                  <a:schemeClr val="bg1"/>
                </a:solidFill>
                <a:latin typeface="Arial" panose="020B0604020202020204" pitchFamily="34" charset="0"/>
                <a:ea typeface="Gulim" pitchFamily="34" charset="-127"/>
                <a:cs typeface="Arial" panose="020B0604020202020204" pitchFamily="34" charset="0"/>
              </a:rPr>
              <a:t>Riesgos por a</a:t>
            </a:r>
          </a:p>
          <a:p>
            <a:pPr marL="92075" indent="-80963"/>
            <a:r>
              <a:rPr lang="es-ES" altLang="ko-KR" sz="1600" b="1" dirty="0">
                <a:solidFill>
                  <a:schemeClr val="bg1"/>
                </a:solidFill>
                <a:latin typeface="Arial" panose="020B0604020202020204" pitchFamily="34" charset="0"/>
                <a:ea typeface="Gulim" pitchFamily="34" charset="-127"/>
                <a:cs typeface="Arial" panose="020B0604020202020204" pitchFamily="34" charset="0"/>
              </a:rPr>
              <a:t>gentes físicos</a:t>
            </a:r>
            <a:endParaRPr lang="en-US" altLang="ko-KR" sz="1600" b="1" dirty="0">
              <a:solidFill>
                <a:schemeClr val="bg1"/>
              </a:solidFill>
              <a:latin typeface="Arial" panose="020B0604020202020204" pitchFamily="34" charset="0"/>
              <a:ea typeface="Gulim" pitchFamily="34" charset="-127"/>
              <a:cs typeface="Arial" panose="020B0604020202020204" pitchFamily="34" charset="0"/>
            </a:endParaRPr>
          </a:p>
        </p:txBody>
      </p:sp>
      <p:cxnSp>
        <p:nvCxnSpPr>
          <p:cNvPr id="23" name="Conector recto 22">
            <a:extLst>
              <a:ext uri="{FF2B5EF4-FFF2-40B4-BE49-F238E27FC236}">
                <a16:creationId xmlns:a16="http://schemas.microsoft.com/office/drawing/2014/main" xmlns="" id="{41DC4A99-973E-8740-AE72-DA35A90AF2B1}"/>
              </a:ext>
            </a:extLst>
          </p:cNvPr>
          <p:cNvCxnSpPr>
            <a:cxnSpLocks/>
          </p:cNvCxnSpPr>
          <p:nvPr/>
        </p:nvCxnSpPr>
        <p:spPr>
          <a:xfrm>
            <a:off x="6090365" y="2915591"/>
            <a:ext cx="0" cy="3095202"/>
          </a:xfrm>
          <a:prstGeom prst="line">
            <a:avLst/>
          </a:prstGeom>
          <a:noFill/>
          <a:ln w="1270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24" name="Rectangle 12">
            <a:extLst>
              <a:ext uri="{FF2B5EF4-FFF2-40B4-BE49-F238E27FC236}">
                <a16:creationId xmlns:a16="http://schemas.microsoft.com/office/drawing/2014/main" xmlns="" id="{A2A7DAD9-9920-304D-A7BF-B5ED2F6696D4}"/>
              </a:ext>
            </a:extLst>
          </p:cNvPr>
          <p:cNvSpPr>
            <a:spLocks noChangeArrowheads="1"/>
          </p:cNvSpPr>
          <p:nvPr/>
        </p:nvSpPr>
        <p:spPr bwMode="auto">
          <a:xfrm>
            <a:off x="6881215" y="1882510"/>
            <a:ext cx="3620221" cy="923333"/>
          </a:xfrm>
          <a:prstGeom prst="rect">
            <a:avLst/>
          </a:prstGeom>
          <a:solidFill>
            <a:schemeClr val="accent1"/>
          </a:solidFill>
          <a:ln w="9525">
            <a:noFill/>
            <a:miter lim="800000"/>
            <a:headEnd/>
            <a:tailEnd/>
          </a:ln>
          <a:effectLst/>
        </p:spPr>
        <p:txBody>
          <a:bodyPr wrap="none" lIns="972000" tIns="46800" rIns="36000" anchor="ctr"/>
          <a:lstStyle/>
          <a:p>
            <a:pPr lvl="0" defTabSz="577850"/>
            <a:r>
              <a:rPr lang="es-CL" sz="1600" b="1" dirty="0">
                <a:solidFill>
                  <a:schemeClr val="bg1"/>
                </a:solidFill>
                <a:latin typeface="Arial" panose="020B0604020202020204" pitchFamily="34" charset="0"/>
                <a:cs typeface="Arial" panose="020B0604020202020204" pitchFamily="34" charset="0"/>
              </a:rPr>
              <a:t>Riesgos por agentes </a:t>
            </a:r>
          </a:p>
          <a:p>
            <a:pPr lvl="0" defTabSz="577850"/>
            <a:r>
              <a:rPr lang="es-CL" sz="1600" b="1" dirty="0">
                <a:solidFill>
                  <a:schemeClr val="bg1"/>
                </a:solidFill>
                <a:latin typeface="Arial" panose="020B0604020202020204" pitchFamily="34" charset="0"/>
                <a:cs typeface="Arial" panose="020B0604020202020204" pitchFamily="34" charset="0"/>
              </a:rPr>
              <a:t>químicos</a:t>
            </a:r>
            <a:endParaRPr lang="es-CL" sz="1200" b="1" dirty="0">
              <a:solidFill>
                <a:schemeClr val="bg1"/>
              </a:solidFill>
              <a:latin typeface="Arial" panose="020B0604020202020204" pitchFamily="34" charset="0"/>
              <a:cs typeface="Arial" panose="020B0604020202020204" pitchFamily="34" charset="0"/>
            </a:endParaRPr>
          </a:p>
        </p:txBody>
      </p:sp>
      <p:pic>
        <p:nvPicPr>
          <p:cNvPr id="10" name="Imagen 9">
            <a:extLst>
              <a:ext uri="{FF2B5EF4-FFF2-40B4-BE49-F238E27FC236}">
                <a16:creationId xmlns:a16="http://schemas.microsoft.com/office/drawing/2014/main" xmlns="" id="{70F1F685-2AED-A743-ADA3-40117CCF0E77}"/>
              </a:ext>
            </a:extLst>
          </p:cNvPr>
          <p:cNvPicPr>
            <a:picLocks noChangeAspect="1"/>
          </p:cNvPicPr>
          <p:nvPr/>
        </p:nvPicPr>
        <p:blipFill>
          <a:blip r:embed="rId3"/>
          <a:stretch>
            <a:fillRect/>
          </a:stretch>
        </p:blipFill>
        <p:spPr>
          <a:xfrm>
            <a:off x="1822451" y="1965143"/>
            <a:ext cx="461594" cy="758065"/>
          </a:xfrm>
          <a:prstGeom prst="rect">
            <a:avLst/>
          </a:prstGeom>
        </p:spPr>
      </p:pic>
      <p:pic>
        <p:nvPicPr>
          <p:cNvPr id="11" name="Imagen 10">
            <a:extLst>
              <a:ext uri="{FF2B5EF4-FFF2-40B4-BE49-F238E27FC236}">
                <a16:creationId xmlns:a16="http://schemas.microsoft.com/office/drawing/2014/main" xmlns="" id="{CC73BF20-2DF1-0742-BC3C-1AFCD41B7AC4}"/>
              </a:ext>
            </a:extLst>
          </p:cNvPr>
          <p:cNvPicPr>
            <a:picLocks noChangeAspect="1"/>
          </p:cNvPicPr>
          <p:nvPr/>
        </p:nvPicPr>
        <p:blipFill>
          <a:blip r:embed="rId4"/>
          <a:stretch>
            <a:fillRect/>
          </a:stretch>
        </p:blipFill>
        <p:spPr>
          <a:xfrm>
            <a:off x="7079955" y="1965143"/>
            <a:ext cx="543744" cy="758066"/>
          </a:xfrm>
          <a:prstGeom prst="rect">
            <a:avLst/>
          </a:prstGeom>
        </p:spPr>
      </p:pic>
    </p:spTree>
    <p:custDataLst>
      <p:tags r:id="rId1"/>
    </p:custDataLst>
    <p:extLst>
      <p:ext uri="{BB962C8B-B14F-4D97-AF65-F5344CB8AC3E}">
        <p14:creationId xmlns:p14="http://schemas.microsoft.com/office/powerpoint/2010/main" val="200914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4">
            <a:extLst>
              <a:ext uri="{FF2B5EF4-FFF2-40B4-BE49-F238E27FC236}">
                <a16:creationId xmlns:a16="http://schemas.microsoft.com/office/drawing/2014/main" xmlns="" id="{E40CE675-CE60-E54A-872A-0140FC44E589}"/>
              </a:ext>
            </a:extLst>
          </p:cNvPr>
          <p:cNvSpPr txBox="1">
            <a:spLocks/>
          </p:cNvSpPr>
          <p:nvPr/>
        </p:nvSpPr>
        <p:spPr>
          <a:xfrm>
            <a:off x="449262" y="496570"/>
            <a:ext cx="9865812" cy="356283"/>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Herramientas para controlar y detectar</a:t>
            </a:r>
          </a:p>
        </p:txBody>
      </p:sp>
      <p:sp>
        <p:nvSpPr>
          <p:cNvPr id="9" name="Text Placeholder 15">
            <a:extLst>
              <a:ext uri="{FF2B5EF4-FFF2-40B4-BE49-F238E27FC236}">
                <a16:creationId xmlns:a16="http://schemas.microsoft.com/office/drawing/2014/main" xmlns="" id="{49DB77B2-4B58-3A48-88CA-EDE0BCA8B5E7}"/>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ans Medium" pitchFamily="2" charset="77"/>
              </a:rPr>
              <a:t>El protocolo incluye:</a:t>
            </a:r>
          </a:p>
        </p:txBody>
      </p:sp>
      <p:pic>
        <p:nvPicPr>
          <p:cNvPr id="10" name="Imagen 9">
            <a:extLst>
              <a:ext uri="{FF2B5EF4-FFF2-40B4-BE49-F238E27FC236}">
                <a16:creationId xmlns:a16="http://schemas.microsoft.com/office/drawing/2014/main" xmlns="" id="{70F1F685-2AED-A743-ADA3-40117CCF0E77}"/>
              </a:ext>
            </a:extLst>
          </p:cNvPr>
          <p:cNvPicPr>
            <a:picLocks noChangeAspect="1"/>
          </p:cNvPicPr>
          <p:nvPr/>
        </p:nvPicPr>
        <p:blipFill>
          <a:blip r:embed="rId3"/>
          <a:stretch>
            <a:fillRect/>
          </a:stretch>
        </p:blipFill>
        <p:spPr>
          <a:xfrm>
            <a:off x="1822451" y="1965143"/>
            <a:ext cx="461594" cy="758065"/>
          </a:xfrm>
          <a:prstGeom prst="rect">
            <a:avLst/>
          </a:prstGeom>
        </p:spPr>
      </p:pic>
      <p:pic>
        <p:nvPicPr>
          <p:cNvPr id="11" name="Imagen 10">
            <a:extLst>
              <a:ext uri="{FF2B5EF4-FFF2-40B4-BE49-F238E27FC236}">
                <a16:creationId xmlns:a16="http://schemas.microsoft.com/office/drawing/2014/main" xmlns="" id="{CC73BF20-2DF1-0742-BC3C-1AFCD41B7AC4}"/>
              </a:ext>
            </a:extLst>
          </p:cNvPr>
          <p:cNvPicPr>
            <a:picLocks noChangeAspect="1"/>
          </p:cNvPicPr>
          <p:nvPr/>
        </p:nvPicPr>
        <p:blipFill>
          <a:blip r:embed="rId4"/>
          <a:stretch>
            <a:fillRect/>
          </a:stretch>
        </p:blipFill>
        <p:spPr>
          <a:xfrm>
            <a:off x="7079955" y="1965143"/>
            <a:ext cx="543744" cy="758066"/>
          </a:xfrm>
          <a:prstGeom prst="rect">
            <a:avLst/>
          </a:prstGeom>
        </p:spPr>
      </p:pic>
      <p:sp>
        <p:nvSpPr>
          <p:cNvPr id="12" name="Freeform 6">
            <a:extLst>
              <a:ext uri="{FF2B5EF4-FFF2-40B4-BE49-F238E27FC236}">
                <a16:creationId xmlns:a16="http://schemas.microsoft.com/office/drawing/2014/main" xmlns="" id="{9382BBD7-0CA9-5747-8695-3018957FE686}"/>
              </a:ext>
            </a:extLst>
          </p:cNvPr>
          <p:cNvSpPr/>
          <p:nvPr/>
        </p:nvSpPr>
        <p:spPr>
          <a:xfrm>
            <a:off x="2428696" y="3518380"/>
            <a:ext cx="3063355" cy="2179740"/>
          </a:xfrm>
          <a:custGeom>
            <a:avLst/>
            <a:gdLst>
              <a:gd name="connsiteX0" fmla="*/ 0 w 5614677"/>
              <a:gd name="connsiteY0" fmla="*/ 0 h 918211"/>
              <a:gd name="connsiteX1" fmla="*/ 5614677 w 5614677"/>
              <a:gd name="connsiteY1" fmla="*/ 0 h 918211"/>
              <a:gd name="connsiteX2" fmla="*/ 5614677 w 5614677"/>
              <a:gd name="connsiteY2" fmla="*/ 918211 h 918211"/>
              <a:gd name="connsiteX3" fmla="*/ 0 w 5614677"/>
              <a:gd name="connsiteY3" fmla="*/ 918211 h 918211"/>
              <a:gd name="connsiteX4" fmla="*/ 0 w 5614677"/>
              <a:gd name="connsiteY4" fmla="*/ 0 h 918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4677" h="918211">
                <a:moveTo>
                  <a:pt x="0" y="0"/>
                </a:moveTo>
                <a:lnTo>
                  <a:pt x="5614677" y="0"/>
                </a:lnTo>
                <a:lnTo>
                  <a:pt x="5614677" y="918211"/>
                </a:lnTo>
                <a:lnTo>
                  <a:pt x="0" y="918211"/>
                </a:lnTo>
                <a:lnTo>
                  <a:pt x="0" y="0"/>
                </a:lnTo>
                <a:close/>
              </a:path>
            </a:pathLst>
          </a:custGeom>
          <a:solidFill>
            <a:schemeClr val="tx2"/>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8000" tIns="0" rIns="108000" bIns="0" numCol="1" spcCol="1270" anchor="ctr" anchorCtr="0">
            <a:noAutofit/>
          </a:bodyPr>
          <a:lstStyle/>
          <a:p>
            <a:pPr marL="285750" indent="-285750" defTabSz="577850">
              <a:lnSpc>
                <a:spcPct val="90000"/>
              </a:lnSpc>
              <a:spcBef>
                <a:spcPct val="0"/>
              </a:spcBef>
              <a:spcAft>
                <a:spcPct val="35000"/>
              </a:spcAft>
              <a:buClr>
                <a:schemeClr val="accent1"/>
              </a:buClr>
              <a:buFont typeface="Wingdings" pitchFamily="2" charset="2"/>
              <a:buChar char="§"/>
            </a:pPr>
            <a:r>
              <a:rPr lang="es-ES" altLang="es-CL" sz="1600" dirty="0">
                <a:solidFill>
                  <a:schemeClr val="tx1"/>
                </a:solidFill>
                <a:latin typeface="ACHS Nueva Sans" pitchFamily="2" charset="0"/>
                <a:ea typeface="+mj-ea"/>
                <a:cs typeface="Arial"/>
              </a:rPr>
              <a:t>Vigilancia médica, para trabajadores expuestos.</a:t>
            </a:r>
          </a:p>
        </p:txBody>
      </p:sp>
      <p:sp>
        <p:nvSpPr>
          <p:cNvPr id="13" name="Freeform 6">
            <a:extLst>
              <a:ext uri="{FF2B5EF4-FFF2-40B4-BE49-F238E27FC236}">
                <a16:creationId xmlns:a16="http://schemas.microsoft.com/office/drawing/2014/main" xmlns="" id="{691E02D9-95EC-E847-B47F-EEAE153F6CF1}"/>
              </a:ext>
            </a:extLst>
          </p:cNvPr>
          <p:cNvSpPr/>
          <p:nvPr/>
        </p:nvSpPr>
        <p:spPr>
          <a:xfrm>
            <a:off x="6364118" y="3518380"/>
            <a:ext cx="3089847" cy="2179740"/>
          </a:xfrm>
          <a:custGeom>
            <a:avLst/>
            <a:gdLst>
              <a:gd name="connsiteX0" fmla="*/ 0 w 5614677"/>
              <a:gd name="connsiteY0" fmla="*/ 0 h 918211"/>
              <a:gd name="connsiteX1" fmla="*/ 5614677 w 5614677"/>
              <a:gd name="connsiteY1" fmla="*/ 0 h 918211"/>
              <a:gd name="connsiteX2" fmla="*/ 5614677 w 5614677"/>
              <a:gd name="connsiteY2" fmla="*/ 918211 h 918211"/>
              <a:gd name="connsiteX3" fmla="*/ 0 w 5614677"/>
              <a:gd name="connsiteY3" fmla="*/ 918211 h 918211"/>
              <a:gd name="connsiteX4" fmla="*/ 0 w 5614677"/>
              <a:gd name="connsiteY4" fmla="*/ 0 h 918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4677" h="918211">
                <a:moveTo>
                  <a:pt x="0" y="0"/>
                </a:moveTo>
                <a:lnTo>
                  <a:pt x="5614677" y="0"/>
                </a:lnTo>
                <a:lnTo>
                  <a:pt x="5614677" y="918211"/>
                </a:lnTo>
                <a:lnTo>
                  <a:pt x="0" y="918211"/>
                </a:lnTo>
                <a:lnTo>
                  <a:pt x="0" y="0"/>
                </a:lnTo>
                <a:close/>
              </a:path>
            </a:pathLst>
          </a:custGeom>
          <a:solidFill>
            <a:schemeClr val="tx2"/>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8000" tIns="0" rIns="108000" bIns="0" numCol="1" spcCol="1270" anchor="ctr" anchorCtr="0">
            <a:noAutofit/>
          </a:bodyPr>
          <a:lstStyle/>
          <a:p>
            <a:pPr marL="285750" indent="-285750" defTabSz="577850">
              <a:lnSpc>
                <a:spcPct val="90000"/>
              </a:lnSpc>
              <a:spcBef>
                <a:spcPct val="0"/>
              </a:spcBef>
              <a:spcAft>
                <a:spcPct val="35000"/>
              </a:spcAft>
              <a:buClr>
                <a:schemeClr val="accent1"/>
              </a:buClr>
              <a:buFont typeface="Wingdings" pitchFamily="2" charset="2"/>
              <a:buChar char="§"/>
            </a:pPr>
            <a:r>
              <a:rPr lang="es-ES" altLang="es-CL" sz="1600" dirty="0">
                <a:solidFill>
                  <a:schemeClr val="tx1"/>
                </a:solidFill>
                <a:latin typeface="ACHS Nueva Sans" pitchFamily="2" charset="0"/>
                <a:ea typeface="+mj-ea"/>
                <a:cs typeface="Arial"/>
              </a:rPr>
              <a:t>Control ambiental, asociado a la elaboración de evaluaciones cualitativas del nivel de riesgo.</a:t>
            </a:r>
          </a:p>
        </p:txBody>
      </p:sp>
      <p:cxnSp>
        <p:nvCxnSpPr>
          <p:cNvPr id="18" name="Conector recto 17">
            <a:extLst>
              <a:ext uri="{FF2B5EF4-FFF2-40B4-BE49-F238E27FC236}">
                <a16:creationId xmlns:a16="http://schemas.microsoft.com/office/drawing/2014/main" xmlns="" id="{38A46DE8-4AC1-1C41-89D6-B2EF62C90299}"/>
              </a:ext>
            </a:extLst>
          </p:cNvPr>
          <p:cNvCxnSpPr>
            <a:cxnSpLocks/>
          </p:cNvCxnSpPr>
          <p:nvPr/>
        </p:nvCxnSpPr>
        <p:spPr>
          <a:xfrm>
            <a:off x="5914059" y="3518380"/>
            <a:ext cx="0" cy="2179740"/>
          </a:xfrm>
          <a:prstGeom prst="line">
            <a:avLst/>
          </a:prstGeom>
          <a:noFill/>
          <a:ln w="1270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21" name="Imagen 20">
            <a:extLst>
              <a:ext uri="{FF2B5EF4-FFF2-40B4-BE49-F238E27FC236}">
                <a16:creationId xmlns:a16="http://schemas.microsoft.com/office/drawing/2014/main" xmlns="" id="{A0586DF7-0FF5-1D49-8298-E65E1C60752E}"/>
              </a:ext>
            </a:extLst>
          </p:cNvPr>
          <p:cNvPicPr>
            <a:picLocks noChangeAspect="1"/>
          </p:cNvPicPr>
          <p:nvPr/>
        </p:nvPicPr>
        <p:blipFill>
          <a:blip r:embed="rId5"/>
          <a:stretch>
            <a:fillRect/>
          </a:stretch>
        </p:blipFill>
        <p:spPr>
          <a:xfrm>
            <a:off x="7383067" y="2065110"/>
            <a:ext cx="960232" cy="1134819"/>
          </a:xfrm>
          <a:prstGeom prst="rect">
            <a:avLst/>
          </a:prstGeom>
        </p:spPr>
      </p:pic>
      <p:pic>
        <p:nvPicPr>
          <p:cNvPr id="25" name="Imagen 24">
            <a:extLst>
              <a:ext uri="{FF2B5EF4-FFF2-40B4-BE49-F238E27FC236}">
                <a16:creationId xmlns:a16="http://schemas.microsoft.com/office/drawing/2014/main" xmlns="" id="{FA4E2715-0309-DA46-9C39-1B93E260AB70}"/>
              </a:ext>
            </a:extLst>
          </p:cNvPr>
          <p:cNvPicPr>
            <a:picLocks noChangeAspect="1"/>
          </p:cNvPicPr>
          <p:nvPr/>
        </p:nvPicPr>
        <p:blipFill>
          <a:blip r:embed="rId6"/>
          <a:stretch>
            <a:fillRect/>
          </a:stretch>
        </p:blipFill>
        <p:spPr>
          <a:xfrm>
            <a:off x="3183147" y="2039238"/>
            <a:ext cx="1225255" cy="1225255"/>
          </a:xfrm>
          <a:prstGeom prst="rect">
            <a:avLst/>
          </a:prstGeom>
        </p:spPr>
      </p:pic>
    </p:spTree>
    <p:custDataLst>
      <p:tags r:id="rId1"/>
    </p:custDataLst>
    <p:extLst>
      <p:ext uri="{BB962C8B-B14F-4D97-AF65-F5344CB8AC3E}">
        <p14:creationId xmlns:p14="http://schemas.microsoft.com/office/powerpoint/2010/main" val="4024567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 name="ARTICULATE_DESIGN_ID_TEMA DE OFFICE" val="XO2vU0zq"/>
  <p:tag name="ARTICULATE_SLIDE_COUNT" val="18"/>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Props1.xml><?xml version="1.0" encoding="utf-8"?>
<ds:datastoreItem xmlns:ds="http://schemas.openxmlformats.org/officeDocument/2006/customXml" ds:itemID="{3B6499FE-18F7-4B74-9FB7-70E11CE19A44}"/>
</file>

<file path=customXml/itemProps2.xml><?xml version="1.0" encoding="utf-8"?>
<ds:datastoreItem xmlns:ds="http://schemas.openxmlformats.org/officeDocument/2006/customXml" ds:itemID="{20E19331-CFE7-4E0D-8436-F7A849E8A5F1}"/>
</file>

<file path=customXml/itemProps3.xml><?xml version="1.0" encoding="utf-8"?>
<ds:datastoreItem xmlns:ds="http://schemas.openxmlformats.org/officeDocument/2006/customXml" ds:itemID="{30E6BE2D-F4AE-4A77-A6FB-6C27B77083CA}"/>
</file>

<file path=docProps/app.xml><?xml version="1.0" encoding="utf-8"?>
<Properties xmlns="http://schemas.openxmlformats.org/officeDocument/2006/extended-properties" xmlns:vt="http://schemas.openxmlformats.org/officeDocument/2006/docPropsVTypes">
  <TotalTime>1639</TotalTime>
  <Words>1000</Words>
  <Application>Microsoft Office PowerPoint</Application>
  <PresentationFormat>Panorámica</PresentationFormat>
  <Paragraphs>118</Paragraphs>
  <Slides>19</Slides>
  <Notes>8</Notes>
  <HiddenSlides>0</HiddenSlides>
  <MMClips>0</MMClips>
  <ScaleCrop>false</ScaleCrop>
  <HeadingPairs>
    <vt:vector size="8" baseType="variant">
      <vt:variant>
        <vt:lpstr>Fuentes usadas</vt:lpstr>
      </vt:variant>
      <vt:variant>
        <vt:i4>9</vt:i4>
      </vt:variant>
      <vt:variant>
        <vt:lpstr>Tema</vt:lpstr>
      </vt:variant>
      <vt:variant>
        <vt:i4>2</vt:i4>
      </vt:variant>
      <vt:variant>
        <vt:lpstr>Servidores OLE incrustados</vt:lpstr>
      </vt:variant>
      <vt:variant>
        <vt:i4>1</vt:i4>
      </vt:variant>
      <vt:variant>
        <vt:lpstr>Títulos de diapositiva</vt:lpstr>
      </vt:variant>
      <vt:variant>
        <vt:i4>19</vt:i4>
      </vt:variant>
    </vt:vector>
  </HeadingPairs>
  <TitlesOfParts>
    <vt:vector size="31" baseType="lpstr">
      <vt:lpstr>ACHS Nueva Sans</vt:lpstr>
      <vt:lpstr>ACHS Nueva Sans Medium</vt:lpstr>
      <vt:lpstr>ACHS Nueva Serif</vt:lpstr>
      <vt:lpstr>Arial</vt:lpstr>
      <vt:lpstr>Calibri</vt:lpstr>
      <vt:lpstr>Calibri Light</vt:lpstr>
      <vt:lpstr>Gulim</vt:lpstr>
      <vt:lpstr>Helvetica Neue Medium</vt:lpstr>
      <vt:lpstr>Wingdings</vt:lpstr>
      <vt:lpstr>Tema de Office</vt:lpstr>
      <vt:lpstr>2_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PATRICIO ALEJANDRO VALDÉS SAAVEDRA</dc:creator>
  <cp:lastModifiedBy>Saldaño Carreño, Carlos Antonio</cp:lastModifiedBy>
  <cp:revision>387</cp:revision>
  <dcterms:created xsi:type="dcterms:W3CDTF">2023-07-11T20:17:04Z</dcterms:created>
  <dcterms:modified xsi:type="dcterms:W3CDTF">2025-02-04T12:23: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B75E5EEC-2E0F-49C7-9C21-3A65591F45E5</vt:lpwstr>
  </property>
  <property fmtid="{D5CDD505-2E9C-101B-9397-08002B2CF9AE}" pid="3" name="ArticulatePath">
    <vt:lpwstr>659715 - PROTOCOLO VIGILANCIA HIPERBARIA - RB2023 </vt:lpwstr>
  </property>
  <property fmtid="{D5CDD505-2E9C-101B-9397-08002B2CF9AE}" pid="4" name="ContentTypeId">
    <vt:lpwstr>0x0101007C36543F3D857D488921B9E8F0F0A212</vt:lpwstr>
  </property>
</Properties>
</file>